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Lst>
  <p:notesMasterIdLst>
    <p:notesMasterId r:id="rId41"/>
  </p:notesMasterIdLst>
  <p:sldIdLst>
    <p:sldId id="592" r:id="rId5"/>
    <p:sldId id="293" r:id="rId6"/>
    <p:sldId id="594" r:id="rId7"/>
    <p:sldId id="330" r:id="rId8"/>
    <p:sldId id="631" r:id="rId9"/>
    <p:sldId id="360" r:id="rId10"/>
    <p:sldId id="593" r:id="rId11"/>
    <p:sldId id="614" r:id="rId12"/>
    <p:sldId id="615" r:id="rId13"/>
    <p:sldId id="616" r:id="rId14"/>
    <p:sldId id="596" r:id="rId15"/>
    <p:sldId id="607" r:id="rId16"/>
    <p:sldId id="609" r:id="rId17"/>
    <p:sldId id="610" r:id="rId18"/>
    <p:sldId id="611" r:id="rId19"/>
    <p:sldId id="627" r:id="rId20"/>
    <p:sldId id="608" r:id="rId21"/>
    <p:sldId id="634" r:id="rId22"/>
    <p:sldId id="601" r:id="rId23"/>
    <p:sldId id="617" r:id="rId24"/>
    <p:sldId id="618" r:id="rId25"/>
    <p:sldId id="632" r:id="rId26"/>
    <p:sldId id="623" r:id="rId27"/>
    <p:sldId id="620" r:id="rId28"/>
    <p:sldId id="622" r:id="rId29"/>
    <p:sldId id="624" r:id="rId30"/>
    <p:sldId id="621" r:id="rId31"/>
    <p:sldId id="612" r:id="rId32"/>
    <p:sldId id="633" r:id="rId33"/>
    <p:sldId id="625" r:id="rId34"/>
    <p:sldId id="626" r:id="rId35"/>
    <p:sldId id="635" r:id="rId36"/>
    <p:sldId id="600" r:id="rId37"/>
    <p:sldId id="628" r:id="rId38"/>
    <p:sldId id="629" r:id="rId39"/>
    <p:sldId id="630" r:id="rId40"/>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elle Ibrahim" initials="NI" lastIdx="8" clrIdx="0">
    <p:extLst>
      <p:ext uri="{19B8F6BF-5375-455C-9EA6-DF929625EA0E}">
        <p15:presenceInfo xmlns:p15="http://schemas.microsoft.com/office/powerpoint/2012/main" userId="c898572536fa483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855"/>
    <a:srgbClr val="0E524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59" autoAdjust="0"/>
    <p:restoredTop sz="91398"/>
  </p:normalViewPr>
  <p:slideViewPr>
    <p:cSldViewPr snapToGrid="0" snapToObjects="1">
      <p:cViewPr varScale="1">
        <p:scale>
          <a:sx n="134" d="100"/>
          <a:sy n="134" d="100"/>
        </p:scale>
        <p:origin x="288" y="168"/>
      </p:cViewPr>
      <p:guideLst>
        <p:guide orient="horz" pos="1620"/>
        <p:guide pos="2880"/>
      </p:guideLst>
    </p:cSldViewPr>
  </p:slideViewPr>
  <p:notesTextViewPr>
    <p:cViewPr>
      <p:scale>
        <a:sx n="100" d="100"/>
        <a:sy n="100" d="100"/>
      </p:scale>
      <p:origin x="0" y="0"/>
    </p:cViewPr>
  </p:notesTextViewPr>
  <p:sorterViewPr>
    <p:cViewPr>
      <p:scale>
        <a:sx n="149" d="100"/>
        <a:sy n="149"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065978-5B85-4247-BEB4-02170958236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CA"/>
        </a:p>
      </dgm:t>
    </dgm:pt>
    <dgm:pt modelId="{F9DCF915-8F56-46A2-BAEB-BE0F7CF8E739}">
      <dgm:prSet phldrT="[Text]"/>
      <dgm:spPr/>
      <dgm:t>
        <a:bodyPr/>
        <a:lstStyle/>
        <a:p>
          <a:r>
            <a:rPr lang="en-CA" dirty="0"/>
            <a:t>Supervised</a:t>
          </a:r>
        </a:p>
      </dgm:t>
    </dgm:pt>
    <dgm:pt modelId="{9BD68F7E-ADA9-49D2-B103-35A990FE02C7}" type="parTrans" cxnId="{DA346F26-6F7B-4D02-8C99-3479856811D6}">
      <dgm:prSet/>
      <dgm:spPr/>
      <dgm:t>
        <a:bodyPr/>
        <a:lstStyle/>
        <a:p>
          <a:endParaRPr lang="en-CA"/>
        </a:p>
      </dgm:t>
    </dgm:pt>
    <dgm:pt modelId="{DDF0D896-31B5-45C3-B77E-8A1694A70406}" type="sibTrans" cxnId="{DA346F26-6F7B-4D02-8C99-3479856811D6}">
      <dgm:prSet/>
      <dgm:spPr/>
      <dgm:t>
        <a:bodyPr/>
        <a:lstStyle/>
        <a:p>
          <a:endParaRPr lang="en-CA"/>
        </a:p>
      </dgm:t>
    </dgm:pt>
    <dgm:pt modelId="{7CEC7D2B-E641-4410-B5A7-979B203797FD}">
      <dgm:prSet phldrT="[Text]"/>
      <dgm:spPr/>
      <dgm:t>
        <a:bodyPr/>
        <a:lstStyle/>
        <a:p>
          <a:r>
            <a:rPr lang="en-CA" dirty="0"/>
            <a:t>Regression</a:t>
          </a:r>
        </a:p>
      </dgm:t>
    </dgm:pt>
    <dgm:pt modelId="{E61C09F7-EA4B-418A-B028-15C0FD0528C5}" type="parTrans" cxnId="{C4A5EB45-E9DF-4D03-86ED-9A6EBBAB3EF5}">
      <dgm:prSet/>
      <dgm:spPr/>
      <dgm:t>
        <a:bodyPr/>
        <a:lstStyle/>
        <a:p>
          <a:endParaRPr lang="en-CA"/>
        </a:p>
      </dgm:t>
    </dgm:pt>
    <dgm:pt modelId="{0F263DB8-8BF4-488C-8410-BE62AC545D66}" type="sibTrans" cxnId="{C4A5EB45-E9DF-4D03-86ED-9A6EBBAB3EF5}">
      <dgm:prSet/>
      <dgm:spPr/>
      <dgm:t>
        <a:bodyPr/>
        <a:lstStyle/>
        <a:p>
          <a:endParaRPr lang="en-CA"/>
        </a:p>
      </dgm:t>
    </dgm:pt>
    <dgm:pt modelId="{2EC1BBD2-5E30-45CA-99E1-20D9021788E7}">
      <dgm:prSet phldrT="[Text]"/>
      <dgm:spPr/>
      <dgm:t>
        <a:bodyPr/>
        <a:lstStyle/>
        <a:p>
          <a:r>
            <a:rPr lang="en-CA" dirty="0"/>
            <a:t>Classification</a:t>
          </a:r>
        </a:p>
      </dgm:t>
    </dgm:pt>
    <dgm:pt modelId="{9896F0A7-C129-4DAF-90BF-782503AE9F39}" type="parTrans" cxnId="{93A8EA66-BC42-4271-9E8A-F60A7C84A52B}">
      <dgm:prSet/>
      <dgm:spPr/>
      <dgm:t>
        <a:bodyPr/>
        <a:lstStyle/>
        <a:p>
          <a:endParaRPr lang="en-CA"/>
        </a:p>
      </dgm:t>
    </dgm:pt>
    <dgm:pt modelId="{2CBD6169-634F-4CD8-AE4C-C263BE731765}" type="sibTrans" cxnId="{93A8EA66-BC42-4271-9E8A-F60A7C84A52B}">
      <dgm:prSet/>
      <dgm:spPr/>
      <dgm:t>
        <a:bodyPr/>
        <a:lstStyle/>
        <a:p>
          <a:endParaRPr lang="en-CA"/>
        </a:p>
      </dgm:t>
    </dgm:pt>
    <dgm:pt modelId="{CC104454-3246-4E24-911D-AA8790344E09}">
      <dgm:prSet phldrT="[Text]"/>
      <dgm:spPr/>
      <dgm:t>
        <a:bodyPr/>
        <a:lstStyle/>
        <a:p>
          <a:r>
            <a:rPr lang="en-CA" dirty="0"/>
            <a:t>Linear, nonlinear</a:t>
          </a:r>
        </a:p>
      </dgm:t>
    </dgm:pt>
    <dgm:pt modelId="{37676A8C-052F-420B-BF20-37BEFF0A0310}" type="parTrans" cxnId="{3FCB8486-33D2-4815-8B68-8E02569F080A}">
      <dgm:prSet/>
      <dgm:spPr/>
      <dgm:t>
        <a:bodyPr/>
        <a:lstStyle/>
        <a:p>
          <a:endParaRPr lang="en-CA"/>
        </a:p>
      </dgm:t>
    </dgm:pt>
    <dgm:pt modelId="{8F867466-3B41-48B1-B121-521934CB6ACF}" type="sibTrans" cxnId="{3FCB8486-33D2-4815-8B68-8E02569F080A}">
      <dgm:prSet/>
      <dgm:spPr/>
      <dgm:t>
        <a:bodyPr/>
        <a:lstStyle/>
        <a:p>
          <a:endParaRPr lang="en-CA"/>
        </a:p>
      </dgm:t>
    </dgm:pt>
    <dgm:pt modelId="{C67820F4-1010-4A13-B764-5EA4675C43B6}">
      <dgm:prSet phldrT="[Text]"/>
      <dgm:spPr/>
      <dgm:t>
        <a:bodyPr/>
        <a:lstStyle/>
        <a:p>
          <a:r>
            <a:rPr lang="en-CA" dirty="0"/>
            <a:t>K-nearest neighbor</a:t>
          </a:r>
        </a:p>
      </dgm:t>
    </dgm:pt>
    <dgm:pt modelId="{B1FD3263-5012-43CD-98B1-7D3066BDA769}" type="parTrans" cxnId="{24F159C7-3E48-45E2-A1D7-D4BAF647ED18}">
      <dgm:prSet/>
      <dgm:spPr/>
      <dgm:t>
        <a:bodyPr/>
        <a:lstStyle/>
        <a:p>
          <a:endParaRPr lang="en-CA"/>
        </a:p>
      </dgm:t>
    </dgm:pt>
    <dgm:pt modelId="{53256B87-672D-4749-A686-31DE8452D1F3}" type="sibTrans" cxnId="{24F159C7-3E48-45E2-A1D7-D4BAF647ED18}">
      <dgm:prSet/>
      <dgm:spPr/>
      <dgm:t>
        <a:bodyPr/>
        <a:lstStyle/>
        <a:p>
          <a:endParaRPr lang="en-CA"/>
        </a:p>
      </dgm:t>
    </dgm:pt>
    <dgm:pt modelId="{46F1AB05-5104-48E0-9717-B6628899401C}">
      <dgm:prSet phldrT="[Text]"/>
      <dgm:spPr/>
      <dgm:t>
        <a:bodyPr/>
        <a:lstStyle/>
        <a:p>
          <a:r>
            <a:rPr lang="en-CA" dirty="0"/>
            <a:t>SVM</a:t>
          </a:r>
        </a:p>
      </dgm:t>
    </dgm:pt>
    <dgm:pt modelId="{C48B2C3F-ABED-48D2-B285-FD961EAF250A}" type="parTrans" cxnId="{454BEC29-59DB-47D0-B9D8-C29DF68D9269}">
      <dgm:prSet/>
      <dgm:spPr/>
      <dgm:t>
        <a:bodyPr/>
        <a:lstStyle/>
        <a:p>
          <a:endParaRPr lang="en-CA"/>
        </a:p>
      </dgm:t>
    </dgm:pt>
    <dgm:pt modelId="{6C46682A-21E6-4856-B001-608ACED71827}" type="sibTrans" cxnId="{454BEC29-59DB-47D0-B9D8-C29DF68D9269}">
      <dgm:prSet/>
      <dgm:spPr/>
      <dgm:t>
        <a:bodyPr/>
        <a:lstStyle/>
        <a:p>
          <a:endParaRPr lang="en-CA"/>
        </a:p>
      </dgm:t>
    </dgm:pt>
    <dgm:pt modelId="{EE27B187-CA84-40AB-9D3B-87AAFC2A3209}">
      <dgm:prSet phldrT="[Text]"/>
      <dgm:spPr/>
      <dgm:t>
        <a:bodyPr/>
        <a:lstStyle/>
        <a:p>
          <a:r>
            <a:rPr lang="en-CA" dirty="0"/>
            <a:t>Random forest</a:t>
          </a:r>
        </a:p>
      </dgm:t>
    </dgm:pt>
    <dgm:pt modelId="{B37BB269-A193-4AE8-9CB0-37968A0C2112}" type="parTrans" cxnId="{14A2A44A-DA35-40B0-BBE1-C794DE6D9DFA}">
      <dgm:prSet/>
      <dgm:spPr/>
      <dgm:t>
        <a:bodyPr/>
        <a:lstStyle/>
        <a:p>
          <a:endParaRPr lang="en-CA"/>
        </a:p>
      </dgm:t>
    </dgm:pt>
    <dgm:pt modelId="{C55910B2-A13D-4206-8708-FF539BF37DC8}" type="sibTrans" cxnId="{14A2A44A-DA35-40B0-BBE1-C794DE6D9DFA}">
      <dgm:prSet/>
      <dgm:spPr/>
      <dgm:t>
        <a:bodyPr/>
        <a:lstStyle/>
        <a:p>
          <a:endParaRPr lang="en-CA"/>
        </a:p>
      </dgm:t>
    </dgm:pt>
    <dgm:pt modelId="{BADC5C5F-A384-4B9B-9F4A-831F9D35B2DA}">
      <dgm:prSet phldrT="[Text]"/>
      <dgm:spPr/>
      <dgm:t>
        <a:bodyPr/>
        <a:lstStyle/>
        <a:p>
          <a:r>
            <a:rPr lang="en-CA" dirty="0"/>
            <a:t>Decision tree</a:t>
          </a:r>
        </a:p>
      </dgm:t>
    </dgm:pt>
    <dgm:pt modelId="{A15B0B6D-BC50-4CDA-B3ED-42CED0EEB183}" type="parTrans" cxnId="{268226B3-7AF3-4816-9645-3C499C38C38C}">
      <dgm:prSet/>
      <dgm:spPr/>
      <dgm:t>
        <a:bodyPr/>
        <a:lstStyle/>
        <a:p>
          <a:endParaRPr lang="en-CA"/>
        </a:p>
      </dgm:t>
    </dgm:pt>
    <dgm:pt modelId="{099D1218-3357-41DD-A1EC-3BF28F6501FB}" type="sibTrans" cxnId="{268226B3-7AF3-4816-9645-3C499C38C38C}">
      <dgm:prSet/>
      <dgm:spPr/>
      <dgm:t>
        <a:bodyPr/>
        <a:lstStyle/>
        <a:p>
          <a:endParaRPr lang="en-CA"/>
        </a:p>
      </dgm:t>
    </dgm:pt>
    <dgm:pt modelId="{3610C9B3-9088-4E6F-A573-0BE0A306646C}">
      <dgm:prSet phldrT="[Text]"/>
      <dgm:spPr/>
      <dgm:t>
        <a:bodyPr/>
        <a:lstStyle/>
        <a:p>
          <a:r>
            <a:rPr lang="en-CA" dirty="0"/>
            <a:t>Random Forrest</a:t>
          </a:r>
        </a:p>
      </dgm:t>
    </dgm:pt>
    <dgm:pt modelId="{A8E795BE-E581-4113-B45C-0A6E33561AFE}" type="parTrans" cxnId="{9AE3339F-E753-462D-AF80-CE27689ABB14}">
      <dgm:prSet/>
      <dgm:spPr/>
      <dgm:t>
        <a:bodyPr/>
        <a:lstStyle/>
        <a:p>
          <a:endParaRPr lang="en-CA"/>
        </a:p>
      </dgm:t>
    </dgm:pt>
    <dgm:pt modelId="{38F098EE-0D4B-4202-A887-4207AF22D18F}" type="sibTrans" cxnId="{9AE3339F-E753-462D-AF80-CE27689ABB14}">
      <dgm:prSet/>
      <dgm:spPr/>
      <dgm:t>
        <a:bodyPr/>
        <a:lstStyle/>
        <a:p>
          <a:endParaRPr lang="en-CA"/>
        </a:p>
      </dgm:t>
    </dgm:pt>
    <dgm:pt modelId="{59CEF22E-95F2-4113-9986-D1E54B483371}">
      <dgm:prSet phldrT="[Text]"/>
      <dgm:spPr/>
      <dgm:t>
        <a:bodyPr/>
        <a:lstStyle/>
        <a:p>
          <a:r>
            <a:rPr lang="en-CA" dirty="0"/>
            <a:t>Logistic regression</a:t>
          </a:r>
        </a:p>
      </dgm:t>
    </dgm:pt>
    <dgm:pt modelId="{B6A2DE1B-9AE2-4208-9146-964D6B77444D}" type="parTrans" cxnId="{72972188-EC41-4135-A19E-A0C7F620D43D}">
      <dgm:prSet/>
      <dgm:spPr/>
      <dgm:t>
        <a:bodyPr/>
        <a:lstStyle/>
        <a:p>
          <a:endParaRPr lang="en-CA"/>
        </a:p>
      </dgm:t>
    </dgm:pt>
    <dgm:pt modelId="{1BFB364D-117A-46BE-87E7-F78D2BA8CFC4}" type="sibTrans" cxnId="{72972188-EC41-4135-A19E-A0C7F620D43D}">
      <dgm:prSet/>
      <dgm:spPr/>
      <dgm:t>
        <a:bodyPr/>
        <a:lstStyle/>
        <a:p>
          <a:endParaRPr lang="en-CA"/>
        </a:p>
      </dgm:t>
    </dgm:pt>
    <dgm:pt modelId="{D91AB926-8217-47BD-9D4C-8D99A2B9418B}">
      <dgm:prSet phldrT="[Text]"/>
      <dgm:spPr/>
      <dgm:t>
        <a:bodyPr/>
        <a:lstStyle/>
        <a:p>
          <a:r>
            <a:rPr lang="en-CA" dirty="0"/>
            <a:t>Naïve Bayes</a:t>
          </a:r>
        </a:p>
      </dgm:t>
    </dgm:pt>
    <dgm:pt modelId="{BF8B8F7D-8CE9-4327-933D-79DE4C964522}" type="parTrans" cxnId="{871D19A9-5A75-48FB-A526-E61BFD33F6F5}">
      <dgm:prSet/>
      <dgm:spPr/>
      <dgm:t>
        <a:bodyPr/>
        <a:lstStyle/>
        <a:p>
          <a:endParaRPr lang="en-CA"/>
        </a:p>
      </dgm:t>
    </dgm:pt>
    <dgm:pt modelId="{D3C97B6B-9699-43E8-8473-7256D748082F}" type="sibTrans" cxnId="{871D19A9-5A75-48FB-A526-E61BFD33F6F5}">
      <dgm:prSet/>
      <dgm:spPr/>
      <dgm:t>
        <a:bodyPr/>
        <a:lstStyle/>
        <a:p>
          <a:endParaRPr lang="en-CA"/>
        </a:p>
      </dgm:t>
    </dgm:pt>
    <dgm:pt modelId="{CD07666F-BFE3-445D-9DFB-6998EFD24A47}" type="pres">
      <dgm:prSet presAssocID="{AA065978-5B85-4247-BEB4-021709582366}" presName="hierChild1" presStyleCnt="0">
        <dgm:presLayoutVars>
          <dgm:chPref val="1"/>
          <dgm:dir/>
          <dgm:animOne val="branch"/>
          <dgm:animLvl val="lvl"/>
          <dgm:resizeHandles/>
        </dgm:presLayoutVars>
      </dgm:prSet>
      <dgm:spPr/>
    </dgm:pt>
    <dgm:pt modelId="{BEAC344B-21E4-4708-ABC6-5EDB5BE7AE25}" type="pres">
      <dgm:prSet presAssocID="{F9DCF915-8F56-46A2-BAEB-BE0F7CF8E739}" presName="hierRoot1" presStyleCnt="0"/>
      <dgm:spPr/>
    </dgm:pt>
    <dgm:pt modelId="{9D364627-D8F6-4C57-A130-02BE214573D0}" type="pres">
      <dgm:prSet presAssocID="{F9DCF915-8F56-46A2-BAEB-BE0F7CF8E739}" presName="composite" presStyleCnt="0"/>
      <dgm:spPr/>
    </dgm:pt>
    <dgm:pt modelId="{17A74A57-CBFE-4C44-B03A-F8CE60235689}" type="pres">
      <dgm:prSet presAssocID="{F9DCF915-8F56-46A2-BAEB-BE0F7CF8E739}" presName="background" presStyleLbl="node0" presStyleIdx="0" presStyleCnt="1"/>
      <dgm:spPr/>
    </dgm:pt>
    <dgm:pt modelId="{44733E4B-7C2D-4058-8353-6E948F252C24}" type="pres">
      <dgm:prSet presAssocID="{F9DCF915-8F56-46A2-BAEB-BE0F7CF8E739}" presName="text" presStyleLbl="fgAcc0" presStyleIdx="0" presStyleCnt="1">
        <dgm:presLayoutVars>
          <dgm:chPref val="3"/>
        </dgm:presLayoutVars>
      </dgm:prSet>
      <dgm:spPr/>
    </dgm:pt>
    <dgm:pt modelId="{A3395D7F-25EC-4EF0-AAD5-9F6A0F7B985A}" type="pres">
      <dgm:prSet presAssocID="{F9DCF915-8F56-46A2-BAEB-BE0F7CF8E739}" presName="hierChild2" presStyleCnt="0"/>
      <dgm:spPr/>
    </dgm:pt>
    <dgm:pt modelId="{4264A72B-7892-406E-A49A-63CDC7569D50}" type="pres">
      <dgm:prSet presAssocID="{E61C09F7-EA4B-418A-B028-15C0FD0528C5}" presName="Name10" presStyleLbl="parChTrans1D2" presStyleIdx="0" presStyleCnt="2"/>
      <dgm:spPr/>
    </dgm:pt>
    <dgm:pt modelId="{0E45CBBD-0CAA-4259-B3B6-CD827F60B1CE}" type="pres">
      <dgm:prSet presAssocID="{7CEC7D2B-E641-4410-B5A7-979B203797FD}" presName="hierRoot2" presStyleCnt="0"/>
      <dgm:spPr/>
    </dgm:pt>
    <dgm:pt modelId="{6AD0178D-2AE4-48C7-9D3D-FDDCF41D51BB}" type="pres">
      <dgm:prSet presAssocID="{7CEC7D2B-E641-4410-B5A7-979B203797FD}" presName="composite2" presStyleCnt="0"/>
      <dgm:spPr/>
    </dgm:pt>
    <dgm:pt modelId="{CD036402-BAF4-4BF5-99D6-C953E1643221}" type="pres">
      <dgm:prSet presAssocID="{7CEC7D2B-E641-4410-B5A7-979B203797FD}" presName="background2" presStyleLbl="node2" presStyleIdx="0" presStyleCnt="2"/>
      <dgm:spPr/>
    </dgm:pt>
    <dgm:pt modelId="{D7D90662-70D7-42DF-8CFB-07E04ABA4343}" type="pres">
      <dgm:prSet presAssocID="{7CEC7D2B-E641-4410-B5A7-979B203797FD}" presName="text2" presStyleLbl="fgAcc2" presStyleIdx="0" presStyleCnt="2">
        <dgm:presLayoutVars>
          <dgm:chPref val="3"/>
        </dgm:presLayoutVars>
      </dgm:prSet>
      <dgm:spPr/>
    </dgm:pt>
    <dgm:pt modelId="{1E48E77E-8A00-408A-B02A-3ECF11EAAC14}" type="pres">
      <dgm:prSet presAssocID="{7CEC7D2B-E641-4410-B5A7-979B203797FD}" presName="hierChild3" presStyleCnt="0"/>
      <dgm:spPr/>
    </dgm:pt>
    <dgm:pt modelId="{F26B0F35-A618-49FB-A03C-DED279CBC885}" type="pres">
      <dgm:prSet presAssocID="{37676A8C-052F-420B-BF20-37BEFF0A0310}" presName="Name17" presStyleLbl="parChTrans1D3" presStyleIdx="0" presStyleCnt="8"/>
      <dgm:spPr/>
    </dgm:pt>
    <dgm:pt modelId="{082283DD-21D1-44F9-8994-E99A58650F9D}" type="pres">
      <dgm:prSet presAssocID="{CC104454-3246-4E24-911D-AA8790344E09}" presName="hierRoot3" presStyleCnt="0"/>
      <dgm:spPr/>
    </dgm:pt>
    <dgm:pt modelId="{04A88E6E-AE16-410D-8A01-B3A5094544DC}" type="pres">
      <dgm:prSet presAssocID="{CC104454-3246-4E24-911D-AA8790344E09}" presName="composite3" presStyleCnt="0"/>
      <dgm:spPr/>
    </dgm:pt>
    <dgm:pt modelId="{51ED87DC-839D-49E8-96A1-C0383B9749B1}" type="pres">
      <dgm:prSet presAssocID="{CC104454-3246-4E24-911D-AA8790344E09}" presName="background3" presStyleLbl="node3" presStyleIdx="0" presStyleCnt="8"/>
      <dgm:spPr/>
    </dgm:pt>
    <dgm:pt modelId="{9D1C8C12-3F2B-430D-B88C-F75758485507}" type="pres">
      <dgm:prSet presAssocID="{CC104454-3246-4E24-911D-AA8790344E09}" presName="text3" presStyleLbl="fgAcc3" presStyleIdx="0" presStyleCnt="8">
        <dgm:presLayoutVars>
          <dgm:chPref val="3"/>
        </dgm:presLayoutVars>
      </dgm:prSet>
      <dgm:spPr/>
    </dgm:pt>
    <dgm:pt modelId="{D2DD992A-581E-45FC-BAFA-367480033CE0}" type="pres">
      <dgm:prSet presAssocID="{CC104454-3246-4E24-911D-AA8790344E09}" presName="hierChild4" presStyleCnt="0"/>
      <dgm:spPr/>
    </dgm:pt>
    <dgm:pt modelId="{10C094C4-6C1C-4EA6-A1F6-EC745AF6419A}" type="pres">
      <dgm:prSet presAssocID="{B1FD3263-5012-43CD-98B1-7D3066BDA769}" presName="Name17" presStyleLbl="parChTrans1D3" presStyleIdx="1" presStyleCnt="8"/>
      <dgm:spPr/>
    </dgm:pt>
    <dgm:pt modelId="{B9A00E24-EA88-4ED8-BC31-FC2310BEFCC4}" type="pres">
      <dgm:prSet presAssocID="{C67820F4-1010-4A13-B764-5EA4675C43B6}" presName="hierRoot3" presStyleCnt="0"/>
      <dgm:spPr/>
    </dgm:pt>
    <dgm:pt modelId="{4CCD7786-9160-4DD2-9BAA-421E3D5B7D0A}" type="pres">
      <dgm:prSet presAssocID="{C67820F4-1010-4A13-B764-5EA4675C43B6}" presName="composite3" presStyleCnt="0"/>
      <dgm:spPr/>
    </dgm:pt>
    <dgm:pt modelId="{806F4A64-9AD6-4C9D-92A4-9C01E53CE772}" type="pres">
      <dgm:prSet presAssocID="{C67820F4-1010-4A13-B764-5EA4675C43B6}" presName="background3" presStyleLbl="node3" presStyleIdx="1" presStyleCnt="8"/>
      <dgm:spPr/>
    </dgm:pt>
    <dgm:pt modelId="{F43B1983-CBFE-4136-8038-DDBC6686DE3D}" type="pres">
      <dgm:prSet presAssocID="{C67820F4-1010-4A13-B764-5EA4675C43B6}" presName="text3" presStyleLbl="fgAcc3" presStyleIdx="1" presStyleCnt="8">
        <dgm:presLayoutVars>
          <dgm:chPref val="3"/>
        </dgm:presLayoutVars>
      </dgm:prSet>
      <dgm:spPr/>
    </dgm:pt>
    <dgm:pt modelId="{DD6186B5-BD5B-47FC-867E-F46DB30C2AE2}" type="pres">
      <dgm:prSet presAssocID="{C67820F4-1010-4A13-B764-5EA4675C43B6}" presName="hierChild4" presStyleCnt="0"/>
      <dgm:spPr/>
    </dgm:pt>
    <dgm:pt modelId="{64F73845-5DF4-4581-B114-9A029B901A32}" type="pres">
      <dgm:prSet presAssocID="{C48B2C3F-ABED-48D2-B285-FD961EAF250A}" presName="Name17" presStyleLbl="parChTrans1D3" presStyleIdx="2" presStyleCnt="8"/>
      <dgm:spPr/>
    </dgm:pt>
    <dgm:pt modelId="{6D7F3AC7-20E6-4FB0-B774-19D2A3CE96A1}" type="pres">
      <dgm:prSet presAssocID="{46F1AB05-5104-48E0-9717-B6628899401C}" presName="hierRoot3" presStyleCnt="0"/>
      <dgm:spPr/>
    </dgm:pt>
    <dgm:pt modelId="{26C59016-954E-4F45-AF71-A80009F48172}" type="pres">
      <dgm:prSet presAssocID="{46F1AB05-5104-48E0-9717-B6628899401C}" presName="composite3" presStyleCnt="0"/>
      <dgm:spPr/>
    </dgm:pt>
    <dgm:pt modelId="{50DA5CAE-7D0A-4714-941C-C431000A3F71}" type="pres">
      <dgm:prSet presAssocID="{46F1AB05-5104-48E0-9717-B6628899401C}" presName="background3" presStyleLbl="node3" presStyleIdx="2" presStyleCnt="8"/>
      <dgm:spPr/>
    </dgm:pt>
    <dgm:pt modelId="{C58303F6-C122-408B-9638-473F9D82998A}" type="pres">
      <dgm:prSet presAssocID="{46F1AB05-5104-48E0-9717-B6628899401C}" presName="text3" presStyleLbl="fgAcc3" presStyleIdx="2" presStyleCnt="8">
        <dgm:presLayoutVars>
          <dgm:chPref val="3"/>
        </dgm:presLayoutVars>
      </dgm:prSet>
      <dgm:spPr/>
    </dgm:pt>
    <dgm:pt modelId="{32037ECC-978F-4277-AAA5-709471876F88}" type="pres">
      <dgm:prSet presAssocID="{46F1AB05-5104-48E0-9717-B6628899401C}" presName="hierChild4" presStyleCnt="0"/>
      <dgm:spPr/>
    </dgm:pt>
    <dgm:pt modelId="{8D75BD9F-E30E-4835-8B2D-A7BCED00B74B}" type="pres">
      <dgm:prSet presAssocID="{B37BB269-A193-4AE8-9CB0-37968A0C2112}" presName="Name17" presStyleLbl="parChTrans1D3" presStyleIdx="3" presStyleCnt="8"/>
      <dgm:spPr/>
    </dgm:pt>
    <dgm:pt modelId="{1CE6BC23-A356-4977-9544-2E5D8EA35C3A}" type="pres">
      <dgm:prSet presAssocID="{EE27B187-CA84-40AB-9D3B-87AAFC2A3209}" presName="hierRoot3" presStyleCnt="0"/>
      <dgm:spPr/>
    </dgm:pt>
    <dgm:pt modelId="{B5EF793A-FC10-4B04-8EE6-97F087D3D703}" type="pres">
      <dgm:prSet presAssocID="{EE27B187-CA84-40AB-9D3B-87AAFC2A3209}" presName="composite3" presStyleCnt="0"/>
      <dgm:spPr/>
    </dgm:pt>
    <dgm:pt modelId="{6D74077D-F746-4452-89F3-177BD7041FD1}" type="pres">
      <dgm:prSet presAssocID="{EE27B187-CA84-40AB-9D3B-87AAFC2A3209}" presName="background3" presStyleLbl="node3" presStyleIdx="3" presStyleCnt="8"/>
      <dgm:spPr/>
    </dgm:pt>
    <dgm:pt modelId="{E0A34D63-88DD-438D-AC26-F226E104C281}" type="pres">
      <dgm:prSet presAssocID="{EE27B187-CA84-40AB-9D3B-87AAFC2A3209}" presName="text3" presStyleLbl="fgAcc3" presStyleIdx="3" presStyleCnt="8">
        <dgm:presLayoutVars>
          <dgm:chPref val="3"/>
        </dgm:presLayoutVars>
      </dgm:prSet>
      <dgm:spPr/>
    </dgm:pt>
    <dgm:pt modelId="{C55D7CD7-B789-4566-948B-3A572162425C}" type="pres">
      <dgm:prSet presAssocID="{EE27B187-CA84-40AB-9D3B-87AAFC2A3209}" presName="hierChild4" presStyleCnt="0"/>
      <dgm:spPr/>
    </dgm:pt>
    <dgm:pt modelId="{537175A5-6DBA-46D0-8BEA-3C611BC4BCCB}" type="pres">
      <dgm:prSet presAssocID="{9896F0A7-C129-4DAF-90BF-782503AE9F39}" presName="Name10" presStyleLbl="parChTrans1D2" presStyleIdx="1" presStyleCnt="2"/>
      <dgm:spPr/>
    </dgm:pt>
    <dgm:pt modelId="{68144CA4-4F60-447B-AD87-52DCD005DD19}" type="pres">
      <dgm:prSet presAssocID="{2EC1BBD2-5E30-45CA-99E1-20D9021788E7}" presName="hierRoot2" presStyleCnt="0"/>
      <dgm:spPr/>
    </dgm:pt>
    <dgm:pt modelId="{0372FC55-826F-48D9-8170-52B3D8ABF55A}" type="pres">
      <dgm:prSet presAssocID="{2EC1BBD2-5E30-45CA-99E1-20D9021788E7}" presName="composite2" presStyleCnt="0"/>
      <dgm:spPr/>
    </dgm:pt>
    <dgm:pt modelId="{8E5D1CE3-DC55-4817-9A16-1CEADC0D8B01}" type="pres">
      <dgm:prSet presAssocID="{2EC1BBD2-5E30-45CA-99E1-20D9021788E7}" presName="background2" presStyleLbl="node2" presStyleIdx="1" presStyleCnt="2"/>
      <dgm:spPr/>
    </dgm:pt>
    <dgm:pt modelId="{B09F488E-2331-426C-8364-B3629A38159F}" type="pres">
      <dgm:prSet presAssocID="{2EC1BBD2-5E30-45CA-99E1-20D9021788E7}" presName="text2" presStyleLbl="fgAcc2" presStyleIdx="1" presStyleCnt="2">
        <dgm:presLayoutVars>
          <dgm:chPref val="3"/>
        </dgm:presLayoutVars>
      </dgm:prSet>
      <dgm:spPr/>
    </dgm:pt>
    <dgm:pt modelId="{F9132221-7F12-47A2-82A5-B07A53364E73}" type="pres">
      <dgm:prSet presAssocID="{2EC1BBD2-5E30-45CA-99E1-20D9021788E7}" presName="hierChild3" presStyleCnt="0"/>
      <dgm:spPr/>
    </dgm:pt>
    <dgm:pt modelId="{F45DBFCC-B526-4B57-A753-8E7C226E08DC}" type="pres">
      <dgm:prSet presAssocID="{A15B0B6D-BC50-4CDA-B3ED-42CED0EEB183}" presName="Name17" presStyleLbl="parChTrans1D3" presStyleIdx="4" presStyleCnt="8"/>
      <dgm:spPr/>
    </dgm:pt>
    <dgm:pt modelId="{87E0E6F3-E16C-4572-835A-AA8856685763}" type="pres">
      <dgm:prSet presAssocID="{BADC5C5F-A384-4B9B-9F4A-831F9D35B2DA}" presName="hierRoot3" presStyleCnt="0"/>
      <dgm:spPr/>
    </dgm:pt>
    <dgm:pt modelId="{A7F51B11-D1F1-4152-AC70-BB51583DDC37}" type="pres">
      <dgm:prSet presAssocID="{BADC5C5F-A384-4B9B-9F4A-831F9D35B2DA}" presName="composite3" presStyleCnt="0"/>
      <dgm:spPr/>
    </dgm:pt>
    <dgm:pt modelId="{1DC8484F-F6EC-4D2F-9E35-9A06C1A47509}" type="pres">
      <dgm:prSet presAssocID="{BADC5C5F-A384-4B9B-9F4A-831F9D35B2DA}" presName="background3" presStyleLbl="node3" presStyleIdx="4" presStyleCnt="8"/>
      <dgm:spPr/>
    </dgm:pt>
    <dgm:pt modelId="{AB06B582-0A3A-4F15-95B5-091EFDFC9C6C}" type="pres">
      <dgm:prSet presAssocID="{BADC5C5F-A384-4B9B-9F4A-831F9D35B2DA}" presName="text3" presStyleLbl="fgAcc3" presStyleIdx="4" presStyleCnt="8">
        <dgm:presLayoutVars>
          <dgm:chPref val="3"/>
        </dgm:presLayoutVars>
      </dgm:prSet>
      <dgm:spPr/>
    </dgm:pt>
    <dgm:pt modelId="{D2F09433-000C-4BA9-B335-9C37C827A303}" type="pres">
      <dgm:prSet presAssocID="{BADC5C5F-A384-4B9B-9F4A-831F9D35B2DA}" presName="hierChild4" presStyleCnt="0"/>
      <dgm:spPr/>
    </dgm:pt>
    <dgm:pt modelId="{56F2E573-1661-4FD5-8E99-61D2CDBDD9E6}" type="pres">
      <dgm:prSet presAssocID="{A8E795BE-E581-4113-B45C-0A6E33561AFE}" presName="Name17" presStyleLbl="parChTrans1D3" presStyleIdx="5" presStyleCnt="8"/>
      <dgm:spPr/>
    </dgm:pt>
    <dgm:pt modelId="{FDBDAFB5-782A-4EE4-AC6E-C5A4D4F44D4F}" type="pres">
      <dgm:prSet presAssocID="{3610C9B3-9088-4E6F-A573-0BE0A306646C}" presName="hierRoot3" presStyleCnt="0"/>
      <dgm:spPr/>
    </dgm:pt>
    <dgm:pt modelId="{6DB21369-1CB0-4DBA-B140-5F09BCAC6B56}" type="pres">
      <dgm:prSet presAssocID="{3610C9B3-9088-4E6F-A573-0BE0A306646C}" presName="composite3" presStyleCnt="0"/>
      <dgm:spPr/>
    </dgm:pt>
    <dgm:pt modelId="{4A4F521E-EFB0-4DBE-9AE1-B9B38B0622A7}" type="pres">
      <dgm:prSet presAssocID="{3610C9B3-9088-4E6F-A573-0BE0A306646C}" presName="background3" presStyleLbl="node3" presStyleIdx="5" presStyleCnt="8"/>
      <dgm:spPr/>
    </dgm:pt>
    <dgm:pt modelId="{0324EBA2-2880-42F4-83A2-CED6EFECA40E}" type="pres">
      <dgm:prSet presAssocID="{3610C9B3-9088-4E6F-A573-0BE0A306646C}" presName="text3" presStyleLbl="fgAcc3" presStyleIdx="5" presStyleCnt="8">
        <dgm:presLayoutVars>
          <dgm:chPref val="3"/>
        </dgm:presLayoutVars>
      </dgm:prSet>
      <dgm:spPr/>
    </dgm:pt>
    <dgm:pt modelId="{054C3B80-4BCC-4C66-AABF-13A61913AB3E}" type="pres">
      <dgm:prSet presAssocID="{3610C9B3-9088-4E6F-A573-0BE0A306646C}" presName="hierChild4" presStyleCnt="0"/>
      <dgm:spPr/>
    </dgm:pt>
    <dgm:pt modelId="{923C5D0D-922C-4A37-8E1B-B48D9A90EBA1}" type="pres">
      <dgm:prSet presAssocID="{B6A2DE1B-9AE2-4208-9146-964D6B77444D}" presName="Name17" presStyleLbl="parChTrans1D3" presStyleIdx="6" presStyleCnt="8"/>
      <dgm:spPr/>
    </dgm:pt>
    <dgm:pt modelId="{4240DA95-4629-4B7E-9AB9-EC16DF4D6C21}" type="pres">
      <dgm:prSet presAssocID="{59CEF22E-95F2-4113-9986-D1E54B483371}" presName="hierRoot3" presStyleCnt="0"/>
      <dgm:spPr/>
    </dgm:pt>
    <dgm:pt modelId="{6E613C62-D87F-4CE5-8788-1842FCAD3969}" type="pres">
      <dgm:prSet presAssocID="{59CEF22E-95F2-4113-9986-D1E54B483371}" presName="composite3" presStyleCnt="0"/>
      <dgm:spPr/>
    </dgm:pt>
    <dgm:pt modelId="{EF37F3E0-FB5B-4B77-8051-461CE67EBD0B}" type="pres">
      <dgm:prSet presAssocID="{59CEF22E-95F2-4113-9986-D1E54B483371}" presName="background3" presStyleLbl="node3" presStyleIdx="6" presStyleCnt="8"/>
      <dgm:spPr/>
    </dgm:pt>
    <dgm:pt modelId="{3B0B7499-E086-426D-B289-0E4C6971A9A5}" type="pres">
      <dgm:prSet presAssocID="{59CEF22E-95F2-4113-9986-D1E54B483371}" presName="text3" presStyleLbl="fgAcc3" presStyleIdx="6" presStyleCnt="8">
        <dgm:presLayoutVars>
          <dgm:chPref val="3"/>
        </dgm:presLayoutVars>
      </dgm:prSet>
      <dgm:spPr/>
    </dgm:pt>
    <dgm:pt modelId="{E11FBDAA-0E86-45D7-B9D8-D127E845662E}" type="pres">
      <dgm:prSet presAssocID="{59CEF22E-95F2-4113-9986-D1E54B483371}" presName="hierChild4" presStyleCnt="0"/>
      <dgm:spPr/>
    </dgm:pt>
    <dgm:pt modelId="{4F68A048-18A1-4042-9028-E31F3360D5CB}" type="pres">
      <dgm:prSet presAssocID="{BF8B8F7D-8CE9-4327-933D-79DE4C964522}" presName="Name17" presStyleLbl="parChTrans1D3" presStyleIdx="7" presStyleCnt="8"/>
      <dgm:spPr/>
    </dgm:pt>
    <dgm:pt modelId="{89C1C80A-EB58-4AD3-BD35-E1E3215671AD}" type="pres">
      <dgm:prSet presAssocID="{D91AB926-8217-47BD-9D4C-8D99A2B9418B}" presName="hierRoot3" presStyleCnt="0"/>
      <dgm:spPr/>
    </dgm:pt>
    <dgm:pt modelId="{7652FEB1-4B6D-4DF1-B69F-BCAECC3E902A}" type="pres">
      <dgm:prSet presAssocID="{D91AB926-8217-47BD-9D4C-8D99A2B9418B}" presName="composite3" presStyleCnt="0"/>
      <dgm:spPr/>
    </dgm:pt>
    <dgm:pt modelId="{437E7EAD-A6E3-4958-9787-930EC91BDFD0}" type="pres">
      <dgm:prSet presAssocID="{D91AB926-8217-47BD-9D4C-8D99A2B9418B}" presName="background3" presStyleLbl="node3" presStyleIdx="7" presStyleCnt="8"/>
      <dgm:spPr/>
    </dgm:pt>
    <dgm:pt modelId="{8D865F6E-2F73-40ED-A1D6-FD31FF6648D6}" type="pres">
      <dgm:prSet presAssocID="{D91AB926-8217-47BD-9D4C-8D99A2B9418B}" presName="text3" presStyleLbl="fgAcc3" presStyleIdx="7" presStyleCnt="8">
        <dgm:presLayoutVars>
          <dgm:chPref val="3"/>
        </dgm:presLayoutVars>
      </dgm:prSet>
      <dgm:spPr/>
    </dgm:pt>
    <dgm:pt modelId="{8B458FBF-02B8-40DC-9E32-721D8FA4AB6A}" type="pres">
      <dgm:prSet presAssocID="{D91AB926-8217-47BD-9D4C-8D99A2B9418B}" presName="hierChild4" presStyleCnt="0"/>
      <dgm:spPr/>
    </dgm:pt>
  </dgm:ptLst>
  <dgm:cxnLst>
    <dgm:cxn modelId="{F06E0306-4C32-4447-807D-89E7B9AA006C}" type="presOf" srcId="{A8E795BE-E581-4113-B45C-0A6E33561AFE}" destId="{56F2E573-1661-4FD5-8E99-61D2CDBDD9E6}" srcOrd="0" destOrd="0" presId="urn:microsoft.com/office/officeart/2005/8/layout/hierarchy1"/>
    <dgm:cxn modelId="{77CB591D-B84E-4E28-B710-C699E6180B94}" type="presOf" srcId="{C67820F4-1010-4A13-B764-5EA4675C43B6}" destId="{F43B1983-CBFE-4136-8038-DDBC6686DE3D}" srcOrd="0" destOrd="0" presId="urn:microsoft.com/office/officeart/2005/8/layout/hierarchy1"/>
    <dgm:cxn modelId="{DA346F26-6F7B-4D02-8C99-3479856811D6}" srcId="{AA065978-5B85-4247-BEB4-021709582366}" destId="{F9DCF915-8F56-46A2-BAEB-BE0F7CF8E739}" srcOrd="0" destOrd="0" parTransId="{9BD68F7E-ADA9-49D2-B103-35A990FE02C7}" sibTransId="{DDF0D896-31B5-45C3-B77E-8A1694A70406}"/>
    <dgm:cxn modelId="{7D575027-0714-4249-B07E-06B0FC1F1CF0}" type="presOf" srcId="{E61C09F7-EA4B-418A-B028-15C0FD0528C5}" destId="{4264A72B-7892-406E-A49A-63CDC7569D50}" srcOrd="0" destOrd="0" presId="urn:microsoft.com/office/officeart/2005/8/layout/hierarchy1"/>
    <dgm:cxn modelId="{454BEC29-59DB-47D0-B9D8-C29DF68D9269}" srcId="{7CEC7D2B-E641-4410-B5A7-979B203797FD}" destId="{46F1AB05-5104-48E0-9717-B6628899401C}" srcOrd="2" destOrd="0" parTransId="{C48B2C3F-ABED-48D2-B285-FD961EAF250A}" sibTransId="{6C46682A-21E6-4856-B001-608ACED71827}"/>
    <dgm:cxn modelId="{39BFEA39-EC23-401F-A693-2A4418CA5BBE}" type="presOf" srcId="{B6A2DE1B-9AE2-4208-9146-964D6B77444D}" destId="{923C5D0D-922C-4A37-8E1B-B48D9A90EBA1}" srcOrd="0" destOrd="0" presId="urn:microsoft.com/office/officeart/2005/8/layout/hierarchy1"/>
    <dgm:cxn modelId="{C4A5EB45-E9DF-4D03-86ED-9A6EBBAB3EF5}" srcId="{F9DCF915-8F56-46A2-BAEB-BE0F7CF8E739}" destId="{7CEC7D2B-E641-4410-B5A7-979B203797FD}" srcOrd="0" destOrd="0" parTransId="{E61C09F7-EA4B-418A-B028-15C0FD0528C5}" sibTransId="{0F263DB8-8BF4-488C-8410-BE62AC545D66}"/>
    <dgm:cxn modelId="{14A2A44A-DA35-40B0-BBE1-C794DE6D9DFA}" srcId="{7CEC7D2B-E641-4410-B5A7-979B203797FD}" destId="{EE27B187-CA84-40AB-9D3B-87AAFC2A3209}" srcOrd="3" destOrd="0" parTransId="{B37BB269-A193-4AE8-9CB0-37968A0C2112}" sibTransId="{C55910B2-A13D-4206-8708-FF539BF37DC8}"/>
    <dgm:cxn modelId="{B1DAEC53-08AC-4650-844A-52FD6CC44102}" type="presOf" srcId="{AA065978-5B85-4247-BEB4-021709582366}" destId="{CD07666F-BFE3-445D-9DFB-6998EFD24A47}" srcOrd="0" destOrd="0" presId="urn:microsoft.com/office/officeart/2005/8/layout/hierarchy1"/>
    <dgm:cxn modelId="{81FBA855-318D-4D6B-A7D2-24799A899C64}" type="presOf" srcId="{D91AB926-8217-47BD-9D4C-8D99A2B9418B}" destId="{8D865F6E-2F73-40ED-A1D6-FD31FF6648D6}" srcOrd="0" destOrd="0" presId="urn:microsoft.com/office/officeart/2005/8/layout/hierarchy1"/>
    <dgm:cxn modelId="{93A8EA66-BC42-4271-9E8A-F60A7C84A52B}" srcId="{F9DCF915-8F56-46A2-BAEB-BE0F7CF8E739}" destId="{2EC1BBD2-5E30-45CA-99E1-20D9021788E7}" srcOrd="1" destOrd="0" parTransId="{9896F0A7-C129-4DAF-90BF-782503AE9F39}" sibTransId="{2CBD6169-634F-4CD8-AE4C-C263BE731765}"/>
    <dgm:cxn modelId="{3879E168-F11D-4830-BB62-77178084A541}" type="presOf" srcId="{46F1AB05-5104-48E0-9717-B6628899401C}" destId="{C58303F6-C122-408B-9638-473F9D82998A}" srcOrd="0" destOrd="0" presId="urn:microsoft.com/office/officeart/2005/8/layout/hierarchy1"/>
    <dgm:cxn modelId="{633F5769-37C3-424B-A0B8-62AF17DFAE4B}" type="presOf" srcId="{EE27B187-CA84-40AB-9D3B-87AAFC2A3209}" destId="{E0A34D63-88DD-438D-AC26-F226E104C281}" srcOrd="0" destOrd="0" presId="urn:microsoft.com/office/officeart/2005/8/layout/hierarchy1"/>
    <dgm:cxn modelId="{DFB9857A-E78F-44B3-B065-61619661FC12}" type="presOf" srcId="{3610C9B3-9088-4E6F-A573-0BE0A306646C}" destId="{0324EBA2-2880-42F4-83A2-CED6EFECA40E}" srcOrd="0" destOrd="0" presId="urn:microsoft.com/office/officeart/2005/8/layout/hierarchy1"/>
    <dgm:cxn modelId="{3FCB8486-33D2-4815-8B68-8E02569F080A}" srcId="{7CEC7D2B-E641-4410-B5A7-979B203797FD}" destId="{CC104454-3246-4E24-911D-AA8790344E09}" srcOrd="0" destOrd="0" parTransId="{37676A8C-052F-420B-BF20-37BEFF0A0310}" sibTransId="{8F867466-3B41-48B1-B121-521934CB6ACF}"/>
    <dgm:cxn modelId="{72972188-EC41-4135-A19E-A0C7F620D43D}" srcId="{2EC1BBD2-5E30-45CA-99E1-20D9021788E7}" destId="{59CEF22E-95F2-4113-9986-D1E54B483371}" srcOrd="2" destOrd="0" parTransId="{B6A2DE1B-9AE2-4208-9146-964D6B77444D}" sibTransId="{1BFB364D-117A-46BE-87E7-F78D2BA8CFC4}"/>
    <dgm:cxn modelId="{E104E38D-F7F7-49D1-BD41-ACFFDA7FEC4D}" type="presOf" srcId="{7CEC7D2B-E641-4410-B5A7-979B203797FD}" destId="{D7D90662-70D7-42DF-8CFB-07E04ABA4343}" srcOrd="0" destOrd="0" presId="urn:microsoft.com/office/officeart/2005/8/layout/hierarchy1"/>
    <dgm:cxn modelId="{9AE3339F-E753-462D-AF80-CE27689ABB14}" srcId="{2EC1BBD2-5E30-45CA-99E1-20D9021788E7}" destId="{3610C9B3-9088-4E6F-A573-0BE0A306646C}" srcOrd="1" destOrd="0" parTransId="{A8E795BE-E581-4113-B45C-0A6E33561AFE}" sibTransId="{38F098EE-0D4B-4202-A887-4207AF22D18F}"/>
    <dgm:cxn modelId="{722528A0-386B-4829-A56D-C1E08BBA7C83}" type="presOf" srcId="{37676A8C-052F-420B-BF20-37BEFF0A0310}" destId="{F26B0F35-A618-49FB-A03C-DED279CBC885}" srcOrd="0" destOrd="0" presId="urn:microsoft.com/office/officeart/2005/8/layout/hierarchy1"/>
    <dgm:cxn modelId="{60A5CBA4-C625-4283-A357-758B3ED4D40C}" type="presOf" srcId="{2EC1BBD2-5E30-45CA-99E1-20D9021788E7}" destId="{B09F488E-2331-426C-8364-B3629A38159F}" srcOrd="0" destOrd="0" presId="urn:microsoft.com/office/officeart/2005/8/layout/hierarchy1"/>
    <dgm:cxn modelId="{4446C3A5-F122-493B-8313-6B8277DADA6D}" type="presOf" srcId="{9896F0A7-C129-4DAF-90BF-782503AE9F39}" destId="{537175A5-6DBA-46D0-8BEA-3C611BC4BCCB}" srcOrd="0" destOrd="0" presId="urn:microsoft.com/office/officeart/2005/8/layout/hierarchy1"/>
    <dgm:cxn modelId="{871D19A9-5A75-48FB-A526-E61BFD33F6F5}" srcId="{2EC1BBD2-5E30-45CA-99E1-20D9021788E7}" destId="{D91AB926-8217-47BD-9D4C-8D99A2B9418B}" srcOrd="3" destOrd="0" parTransId="{BF8B8F7D-8CE9-4327-933D-79DE4C964522}" sibTransId="{D3C97B6B-9699-43E8-8473-7256D748082F}"/>
    <dgm:cxn modelId="{5A3932AC-A576-43F1-BD8D-7D416FA25C40}" type="presOf" srcId="{B1FD3263-5012-43CD-98B1-7D3066BDA769}" destId="{10C094C4-6C1C-4EA6-A1F6-EC745AF6419A}" srcOrd="0" destOrd="0" presId="urn:microsoft.com/office/officeart/2005/8/layout/hierarchy1"/>
    <dgm:cxn modelId="{DE8F4DB1-6642-462F-88BE-BBBB852A2FA8}" type="presOf" srcId="{A15B0B6D-BC50-4CDA-B3ED-42CED0EEB183}" destId="{F45DBFCC-B526-4B57-A753-8E7C226E08DC}" srcOrd="0" destOrd="0" presId="urn:microsoft.com/office/officeart/2005/8/layout/hierarchy1"/>
    <dgm:cxn modelId="{268226B3-7AF3-4816-9645-3C499C38C38C}" srcId="{2EC1BBD2-5E30-45CA-99E1-20D9021788E7}" destId="{BADC5C5F-A384-4B9B-9F4A-831F9D35B2DA}" srcOrd="0" destOrd="0" parTransId="{A15B0B6D-BC50-4CDA-B3ED-42CED0EEB183}" sibTransId="{099D1218-3357-41DD-A1EC-3BF28F6501FB}"/>
    <dgm:cxn modelId="{9F980FB8-D360-4103-9C4D-D0A10ACFF05E}" type="presOf" srcId="{59CEF22E-95F2-4113-9986-D1E54B483371}" destId="{3B0B7499-E086-426D-B289-0E4C6971A9A5}" srcOrd="0" destOrd="0" presId="urn:microsoft.com/office/officeart/2005/8/layout/hierarchy1"/>
    <dgm:cxn modelId="{1DDF00BE-1DAE-4BE3-86D6-466AE95F2FEB}" type="presOf" srcId="{F9DCF915-8F56-46A2-BAEB-BE0F7CF8E739}" destId="{44733E4B-7C2D-4058-8353-6E948F252C24}" srcOrd="0" destOrd="0" presId="urn:microsoft.com/office/officeart/2005/8/layout/hierarchy1"/>
    <dgm:cxn modelId="{067272BE-314B-4042-BCE6-74FC776CE2A6}" type="presOf" srcId="{B37BB269-A193-4AE8-9CB0-37968A0C2112}" destId="{8D75BD9F-E30E-4835-8B2D-A7BCED00B74B}" srcOrd="0" destOrd="0" presId="urn:microsoft.com/office/officeart/2005/8/layout/hierarchy1"/>
    <dgm:cxn modelId="{24F159C7-3E48-45E2-A1D7-D4BAF647ED18}" srcId="{7CEC7D2B-E641-4410-B5A7-979B203797FD}" destId="{C67820F4-1010-4A13-B764-5EA4675C43B6}" srcOrd="1" destOrd="0" parTransId="{B1FD3263-5012-43CD-98B1-7D3066BDA769}" sibTransId="{53256B87-672D-4749-A686-31DE8452D1F3}"/>
    <dgm:cxn modelId="{1D5FC0F7-678B-4BAE-B3EF-C7B11A96483A}" type="presOf" srcId="{CC104454-3246-4E24-911D-AA8790344E09}" destId="{9D1C8C12-3F2B-430D-B88C-F75758485507}" srcOrd="0" destOrd="0" presId="urn:microsoft.com/office/officeart/2005/8/layout/hierarchy1"/>
    <dgm:cxn modelId="{5B1A78F8-E060-4722-A8CD-19AB590CC7CF}" type="presOf" srcId="{C48B2C3F-ABED-48D2-B285-FD961EAF250A}" destId="{64F73845-5DF4-4581-B114-9A029B901A32}" srcOrd="0" destOrd="0" presId="urn:microsoft.com/office/officeart/2005/8/layout/hierarchy1"/>
    <dgm:cxn modelId="{59768AFC-F85C-4AF4-B9D1-EADCF313950E}" type="presOf" srcId="{BF8B8F7D-8CE9-4327-933D-79DE4C964522}" destId="{4F68A048-18A1-4042-9028-E31F3360D5CB}" srcOrd="0" destOrd="0" presId="urn:microsoft.com/office/officeart/2005/8/layout/hierarchy1"/>
    <dgm:cxn modelId="{5B74F9FD-11A0-484A-888F-2D0100EA1A6F}" type="presOf" srcId="{BADC5C5F-A384-4B9B-9F4A-831F9D35B2DA}" destId="{AB06B582-0A3A-4F15-95B5-091EFDFC9C6C}" srcOrd="0" destOrd="0" presId="urn:microsoft.com/office/officeart/2005/8/layout/hierarchy1"/>
    <dgm:cxn modelId="{5128698E-5283-4AC5-BF5D-1DFBA31E01D7}" type="presParOf" srcId="{CD07666F-BFE3-445D-9DFB-6998EFD24A47}" destId="{BEAC344B-21E4-4708-ABC6-5EDB5BE7AE25}" srcOrd="0" destOrd="0" presId="urn:microsoft.com/office/officeart/2005/8/layout/hierarchy1"/>
    <dgm:cxn modelId="{6255DA73-BA1B-40D4-884F-0720D6FE9081}" type="presParOf" srcId="{BEAC344B-21E4-4708-ABC6-5EDB5BE7AE25}" destId="{9D364627-D8F6-4C57-A130-02BE214573D0}" srcOrd="0" destOrd="0" presId="urn:microsoft.com/office/officeart/2005/8/layout/hierarchy1"/>
    <dgm:cxn modelId="{084D8C94-26F3-4B41-8FB1-4F28937FAE0A}" type="presParOf" srcId="{9D364627-D8F6-4C57-A130-02BE214573D0}" destId="{17A74A57-CBFE-4C44-B03A-F8CE60235689}" srcOrd="0" destOrd="0" presId="urn:microsoft.com/office/officeart/2005/8/layout/hierarchy1"/>
    <dgm:cxn modelId="{F8D512FD-350F-406E-8476-B3FDFC730E7F}" type="presParOf" srcId="{9D364627-D8F6-4C57-A130-02BE214573D0}" destId="{44733E4B-7C2D-4058-8353-6E948F252C24}" srcOrd="1" destOrd="0" presId="urn:microsoft.com/office/officeart/2005/8/layout/hierarchy1"/>
    <dgm:cxn modelId="{671A0EE6-5F33-4441-A2F7-98EE69524809}" type="presParOf" srcId="{BEAC344B-21E4-4708-ABC6-5EDB5BE7AE25}" destId="{A3395D7F-25EC-4EF0-AAD5-9F6A0F7B985A}" srcOrd="1" destOrd="0" presId="urn:microsoft.com/office/officeart/2005/8/layout/hierarchy1"/>
    <dgm:cxn modelId="{A4DADBD7-2241-45BE-9A43-C46194D03DE7}" type="presParOf" srcId="{A3395D7F-25EC-4EF0-AAD5-9F6A0F7B985A}" destId="{4264A72B-7892-406E-A49A-63CDC7569D50}" srcOrd="0" destOrd="0" presId="urn:microsoft.com/office/officeart/2005/8/layout/hierarchy1"/>
    <dgm:cxn modelId="{9B294ACB-B47C-45D3-8B6C-0AEE6CFE5FB1}" type="presParOf" srcId="{A3395D7F-25EC-4EF0-AAD5-9F6A0F7B985A}" destId="{0E45CBBD-0CAA-4259-B3B6-CD827F60B1CE}" srcOrd="1" destOrd="0" presId="urn:microsoft.com/office/officeart/2005/8/layout/hierarchy1"/>
    <dgm:cxn modelId="{CD99EB38-06D0-447C-ADEC-631D89106BB1}" type="presParOf" srcId="{0E45CBBD-0CAA-4259-B3B6-CD827F60B1CE}" destId="{6AD0178D-2AE4-48C7-9D3D-FDDCF41D51BB}" srcOrd="0" destOrd="0" presId="urn:microsoft.com/office/officeart/2005/8/layout/hierarchy1"/>
    <dgm:cxn modelId="{6B531F0B-EEB7-42A8-8A38-712BEE915C2B}" type="presParOf" srcId="{6AD0178D-2AE4-48C7-9D3D-FDDCF41D51BB}" destId="{CD036402-BAF4-4BF5-99D6-C953E1643221}" srcOrd="0" destOrd="0" presId="urn:microsoft.com/office/officeart/2005/8/layout/hierarchy1"/>
    <dgm:cxn modelId="{D5999D26-AF61-4D20-9BFB-A6EF73679805}" type="presParOf" srcId="{6AD0178D-2AE4-48C7-9D3D-FDDCF41D51BB}" destId="{D7D90662-70D7-42DF-8CFB-07E04ABA4343}" srcOrd="1" destOrd="0" presId="urn:microsoft.com/office/officeart/2005/8/layout/hierarchy1"/>
    <dgm:cxn modelId="{0DF84D44-6A91-4507-B631-047DD683D984}" type="presParOf" srcId="{0E45CBBD-0CAA-4259-B3B6-CD827F60B1CE}" destId="{1E48E77E-8A00-408A-B02A-3ECF11EAAC14}" srcOrd="1" destOrd="0" presId="urn:microsoft.com/office/officeart/2005/8/layout/hierarchy1"/>
    <dgm:cxn modelId="{9B959CED-008B-4B29-B80E-855813E8FDE7}" type="presParOf" srcId="{1E48E77E-8A00-408A-B02A-3ECF11EAAC14}" destId="{F26B0F35-A618-49FB-A03C-DED279CBC885}" srcOrd="0" destOrd="0" presId="urn:microsoft.com/office/officeart/2005/8/layout/hierarchy1"/>
    <dgm:cxn modelId="{B18BAC1D-4F63-40B3-A6A7-4E6EEAB681E3}" type="presParOf" srcId="{1E48E77E-8A00-408A-B02A-3ECF11EAAC14}" destId="{082283DD-21D1-44F9-8994-E99A58650F9D}" srcOrd="1" destOrd="0" presId="urn:microsoft.com/office/officeart/2005/8/layout/hierarchy1"/>
    <dgm:cxn modelId="{68C6324F-FC21-48B5-A9AE-F555382DB006}" type="presParOf" srcId="{082283DD-21D1-44F9-8994-E99A58650F9D}" destId="{04A88E6E-AE16-410D-8A01-B3A5094544DC}" srcOrd="0" destOrd="0" presId="urn:microsoft.com/office/officeart/2005/8/layout/hierarchy1"/>
    <dgm:cxn modelId="{FE2C61FE-0A7B-4C12-9D69-5CD1BAA2943D}" type="presParOf" srcId="{04A88E6E-AE16-410D-8A01-B3A5094544DC}" destId="{51ED87DC-839D-49E8-96A1-C0383B9749B1}" srcOrd="0" destOrd="0" presId="urn:microsoft.com/office/officeart/2005/8/layout/hierarchy1"/>
    <dgm:cxn modelId="{B2A046D8-A9F7-49D8-A5D7-3C08D047F787}" type="presParOf" srcId="{04A88E6E-AE16-410D-8A01-B3A5094544DC}" destId="{9D1C8C12-3F2B-430D-B88C-F75758485507}" srcOrd="1" destOrd="0" presId="urn:microsoft.com/office/officeart/2005/8/layout/hierarchy1"/>
    <dgm:cxn modelId="{C65FF621-A5AD-481B-9F78-74C0258CAA2E}" type="presParOf" srcId="{082283DD-21D1-44F9-8994-E99A58650F9D}" destId="{D2DD992A-581E-45FC-BAFA-367480033CE0}" srcOrd="1" destOrd="0" presId="urn:microsoft.com/office/officeart/2005/8/layout/hierarchy1"/>
    <dgm:cxn modelId="{9A473990-5FFD-4EC7-B6C7-6D833EB608C4}" type="presParOf" srcId="{1E48E77E-8A00-408A-B02A-3ECF11EAAC14}" destId="{10C094C4-6C1C-4EA6-A1F6-EC745AF6419A}" srcOrd="2" destOrd="0" presId="urn:microsoft.com/office/officeart/2005/8/layout/hierarchy1"/>
    <dgm:cxn modelId="{D13D5FB9-C10B-42A3-9543-CD7C2F91C000}" type="presParOf" srcId="{1E48E77E-8A00-408A-B02A-3ECF11EAAC14}" destId="{B9A00E24-EA88-4ED8-BC31-FC2310BEFCC4}" srcOrd="3" destOrd="0" presId="urn:microsoft.com/office/officeart/2005/8/layout/hierarchy1"/>
    <dgm:cxn modelId="{3C860F04-D100-46CA-8FCF-D8E169AB4924}" type="presParOf" srcId="{B9A00E24-EA88-4ED8-BC31-FC2310BEFCC4}" destId="{4CCD7786-9160-4DD2-9BAA-421E3D5B7D0A}" srcOrd="0" destOrd="0" presId="urn:microsoft.com/office/officeart/2005/8/layout/hierarchy1"/>
    <dgm:cxn modelId="{951AA021-3812-4FC1-A40B-5535C44F5C11}" type="presParOf" srcId="{4CCD7786-9160-4DD2-9BAA-421E3D5B7D0A}" destId="{806F4A64-9AD6-4C9D-92A4-9C01E53CE772}" srcOrd="0" destOrd="0" presId="urn:microsoft.com/office/officeart/2005/8/layout/hierarchy1"/>
    <dgm:cxn modelId="{6BE6B6E1-5BA6-494C-A586-C25CCB34FDBE}" type="presParOf" srcId="{4CCD7786-9160-4DD2-9BAA-421E3D5B7D0A}" destId="{F43B1983-CBFE-4136-8038-DDBC6686DE3D}" srcOrd="1" destOrd="0" presId="urn:microsoft.com/office/officeart/2005/8/layout/hierarchy1"/>
    <dgm:cxn modelId="{6B91FCD1-5DF9-41F2-9ECA-5B74F8A354DE}" type="presParOf" srcId="{B9A00E24-EA88-4ED8-BC31-FC2310BEFCC4}" destId="{DD6186B5-BD5B-47FC-867E-F46DB30C2AE2}" srcOrd="1" destOrd="0" presId="urn:microsoft.com/office/officeart/2005/8/layout/hierarchy1"/>
    <dgm:cxn modelId="{F10C25D2-DFE9-479B-B3AA-09130EC4D15C}" type="presParOf" srcId="{1E48E77E-8A00-408A-B02A-3ECF11EAAC14}" destId="{64F73845-5DF4-4581-B114-9A029B901A32}" srcOrd="4" destOrd="0" presId="urn:microsoft.com/office/officeart/2005/8/layout/hierarchy1"/>
    <dgm:cxn modelId="{4A10125E-9ED0-4DC3-BD98-D8AC38897E55}" type="presParOf" srcId="{1E48E77E-8A00-408A-B02A-3ECF11EAAC14}" destId="{6D7F3AC7-20E6-4FB0-B774-19D2A3CE96A1}" srcOrd="5" destOrd="0" presId="urn:microsoft.com/office/officeart/2005/8/layout/hierarchy1"/>
    <dgm:cxn modelId="{447A8BD3-B90D-4EA2-8A07-AD2567A54B73}" type="presParOf" srcId="{6D7F3AC7-20E6-4FB0-B774-19D2A3CE96A1}" destId="{26C59016-954E-4F45-AF71-A80009F48172}" srcOrd="0" destOrd="0" presId="urn:microsoft.com/office/officeart/2005/8/layout/hierarchy1"/>
    <dgm:cxn modelId="{F4464DC2-7A82-4DAE-80B8-3722CC76BE99}" type="presParOf" srcId="{26C59016-954E-4F45-AF71-A80009F48172}" destId="{50DA5CAE-7D0A-4714-941C-C431000A3F71}" srcOrd="0" destOrd="0" presId="urn:microsoft.com/office/officeart/2005/8/layout/hierarchy1"/>
    <dgm:cxn modelId="{2E36A247-A8FE-4FA4-896E-4E120EE4695B}" type="presParOf" srcId="{26C59016-954E-4F45-AF71-A80009F48172}" destId="{C58303F6-C122-408B-9638-473F9D82998A}" srcOrd="1" destOrd="0" presId="urn:microsoft.com/office/officeart/2005/8/layout/hierarchy1"/>
    <dgm:cxn modelId="{5097E7DB-6CCA-4FED-A2F9-F8C231D109C2}" type="presParOf" srcId="{6D7F3AC7-20E6-4FB0-B774-19D2A3CE96A1}" destId="{32037ECC-978F-4277-AAA5-709471876F88}" srcOrd="1" destOrd="0" presId="urn:microsoft.com/office/officeart/2005/8/layout/hierarchy1"/>
    <dgm:cxn modelId="{24366D7F-7274-4ADE-BC3F-C360148386D7}" type="presParOf" srcId="{1E48E77E-8A00-408A-B02A-3ECF11EAAC14}" destId="{8D75BD9F-E30E-4835-8B2D-A7BCED00B74B}" srcOrd="6" destOrd="0" presId="urn:microsoft.com/office/officeart/2005/8/layout/hierarchy1"/>
    <dgm:cxn modelId="{2C7A5E3C-14FF-4E06-A48E-8E31531D182A}" type="presParOf" srcId="{1E48E77E-8A00-408A-B02A-3ECF11EAAC14}" destId="{1CE6BC23-A356-4977-9544-2E5D8EA35C3A}" srcOrd="7" destOrd="0" presId="urn:microsoft.com/office/officeart/2005/8/layout/hierarchy1"/>
    <dgm:cxn modelId="{8A0DB648-4260-40BB-8137-C5D2513F0114}" type="presParOf" srcId="{1CE6BC23-A356-4977-9544-2E5D8EA35C3A}" destId="{B5EF793A-FC10-4B04-8EE6-97F087D3D703}" srcOrd="0" destOrd="0" presId="urn:microsoft.com/office/officeart/2005/8/layout/hierarchy1"/>
    <dgm:cxn modelId="{080F50DF-D96F-4ACD-AC78-693A635A9FC4}" type="presParOf" srcId="{B5EF793A-FC10-4B04-8EE6-97F087D3D703}" destId="{6D74077D-F746-4452-89F3-177BD7041FD1}" srcOrd="0" destOrd="0" presId="urn:microsoft.com/office/officeart/2005/8/layout/hierarchy1"/>
    <dgm:cxn modelId="{69E43518-CCCC-4218-B891-514D6DD5A4C9}" type="presParOf" srcId="{B5EF793A-FC10-4B04-8EE6-97F087D3D703}" destId="{E0A34D63-88DD-438D-AC26-F226E104C281}" srcOrd="1" destOrd="0" presId="urn:microsoft.com/office/officeart/2005/8/layout/hierarchy1"/>
    <dgm:cxn modelId="{27F11935-1042-4BCA-A531-C60F3FA1CF9B}" type="presParOf" srcId="{1CE6BC23-A356-4977-9544-2E5D8EA35C3A}" destId="{C55D7CD7-B789-4566-948B-3A572162425C}" srcOrd="1" destOrd="0" presId="urn:microsoft.com/office/officeart/2005/8/layout/hierarchy1"/>
    <dgm:cxn modelId="{9D90BC13-4076-4ADC-A9A8-64C841F1494C}" type="presParOf" srcId="{A3395D7F-25EC-4EF0-AAD5-9F6A0F7B985A}" destId="{537175A5-6DBA-46D0-8BEA-3C611BC4BCCB}" srcOrd="2" destOrd="0" presId="urn:microsoft.com/office/officeart/2005/8/layout/hierarchy1"/>
    <dgm:cxn modelId="{D18502CC-E7A5-495E-8F1F-0C879FD45D7E}" type="presParOf" srcId="{A3395D7F-25EC-4EF0-AAD5-9F6A0F7B985A}" destId="{68144CA4-4F60-447B-AD87-52DCD005DD19}" srcOrd="3" destOrd="0" presId="urn:microsoft.com/office/officeart/2005/8/layout/hierarchy1"/>
    <dgm:cxn modelId="{22DD5771-DB6C-4E35-A054-7F23F1434BDC}" type="presParOf" srcId="{68144CA4-4F60-447B-AD87-52DCD005DD19}" destId="{0372FC55-826F-48D9-8170-52B3D8ABF55A}" srcOrd="0" destOrd="0" presId="urn:microsoft.com/office/officeart/2005/8/layout/hierarchy1"/>
    <dgm:cxn modelId="{618AB07F-D46C-4CAB-A85F-699B2CBF5E74}" type="presParOf" srcId="{0372FC55-826F-48D9-8170-52B3D8ABF55A}" destId="{8E5D1CE3-DC55-4817-9A16-1CEADC0D8B01}" srcOrd="0" destOrd="0" presId="urn:microsoft.com/office/officeart/2005/8/layout/hierarchy1"/>
    <dgm:cxn modelId="{3C7EF073-9ED6-4922-A1B0-158EDC2E9412}" type="presParOf" srcId="{0372FC55-826F-48D9-8170-52B3D8ABF55A}" destId="{B09F488E-2331-426C-8364-B3629A38159F}" srcOrd="1" destOrd="0" presId="urn:microsoft.com/office/officeart/2005/8/layout/hierarchy1"/>
    <dgm:cxn modelId="{8474A226-B6F6-450D-A43D-32299FD3ED76}" type="presParOf" srcId="{68144CA4-4F60-447B-AD87-52DCD005DD19}" destId="{F9132221-7F12-47A2-82A5-B07A53364E73}" srcOrd="1" destOrd="0" presId="urn:microsoft.com/office/officeart/2005/8/layout/hierarchy1"/>
    <dgm:cxn modelId="{11CD2682-891C-4F04-A153-4A719B9E4EA8}" type="presParOf" srcId="{F9132221-7F12-47A2-82A5-B07A53364E73}" destId="{F45DBFCC-B526-4B57-A753-8E7C226E08DC}" srcOrd="0" destOrd="0" presId="urn:microsoft.com/office/officeart/2005/8/layout/hierarchy1"/>
    <dgm:cxn modelId="{2D9741A4-D4C8-4811-9342-55D96C6A506B}" type="presParOf" srcId="{F9132221-7F12-47A2-82A5-B07A53364E73}" destId="{87E0E6F3-E16C-4572-835A-AA8856685763}" srcOrd="1" destOrd="0" presId="urn:microsoft.com/office/officeart/2005/8/layout/hierarchy1"/>
    <dgm:cxn modelId="{4CFCAA1A-D134-4DBE-91C6-B4B83BBE0F64}" type="presParOf" srcId="{87E0E6F3-E16C-4572-835A-AA8856685763}" destId="{A7F51B11-D1F1-4152-AC70-BB51583DDC37}" srcOrd="0" destOrd="0" presId="urn:microsoft.com/office/officeart/2005/8/layout/hierarchy1"/>
    <dgm:cxn modelId="{41F2A6C6-1841-4CA4-B657-DFD92936FDA8}" type="presParOf" srcId="{A7F51B11-D1F1-4152-AC70-BB51583DDC37}" destId="{1DC8484F-F6EC-4D2F-9E35-9A06C1A47509}" srcOrd="0" destOrd="0" presId="urn:microsoft.com/office/officeart/2005/8/layout/hierarchy1"/>
    <dgm:cxn modelId="{C3A75CE7-F438-459A-A30B-B9E99023D41E}" type="presParOf" srcId="{A7F51B11-D1F1-4152-AC70-BB51583DDC37}" destId="{AB06B582-0A3A-4F15-95B5-091EFDFC9C6C}" srcOrd="1" destOrd="0" presId="urn:microsoft.com/office/officeart/2005/8/layout/hierarchy1"/>
    <dgm:cxn modelId="{A0DB5D66-AE8D-4B92-B9B7-C0A5AF9B606A}" type="presParOf" srcId="{87E0E6F3-E16C-4572-835A-AA8856685763}" destId="{D2F09433-000C-4BA9-B335-9C37C827A303}" srcOrd="1" destOrd="0" presId="urn:microsoft.com/office/officeart/2005/8/layout/hierarchy1"/>
    <dgm:cxn modelId="{DFFDEF23-5E24-48D6-872D-834E9EFCAD46}" type="presParOf" srcId="{F9132221-7F12-47A2-82A5-B07A53364E73}" destId="{56F2E573-1661-4FD5-8E99-61D2CDBDD9E6}" srcOrd="2" destOrd="0" presId="urn:microsoft.com/office/officeart/2005/8/layout/hierarchy1"/>
    <dgm:cxn modelId="{E7E079D1-CCEF-4D2E-B373-A3E54F4DA42B}" type="presParOf" srcId="{F9132221-7F12-47A2-82A5-B07A53364E73}" destId="{FDBDAFB5-782A-4EE4-AC6E-C5A4D4F44D4F}" srcOrd="3" destOrd="0" presId="urn:microsoft.com/office/officeart/2005/8/layout/hierarchy1"/>
    <dgm:cxn modelId="{C7988D1D-8D18-4F9F-8CD3-D3C593A58399}" type="presParOf" srcId="{FDBDAFB5-782A-4EE4-AC6E-C5A4D4F44D4F}" destId="{6DB21369-1CB0-4DBA-B140-5F09BCAC6B56}" srcOrd="0" destOrd="0" presId="urn:microsoft.com/office/officeart/2005/8/layout/hierarchy1"/>
    <dgm:cxn modelId="{31ED2D7D-82BE-4A0C-93FD-1A8A9362E5E5}" type="presParOf" srcId="{6DB21369-1CB0-4DBA-B140-5F09BCAC6B56}" destId="{4A4F521E-EFB0-4DBE-9AE1-B9B38B0622A7}" srcOrd="0" destOrd="0" presId="urn:microsoft.com/office/officeart/2005/8/layout/hierarchy1"/>
    <dgm:cxn modelId="{32F881DE-F746-4583-B8FA-A4F34E39E92A}" type="presParOf" srcId="{6DB21369-1CB0-4DBA-B140-5F09BCAC6B56}" destId="{0324EBA2-2880-42F4-83A2-CED6EFECA40E}" srcOrd="1" destOrd="0" presId="urn:microsoft.com/office/officeart/2005/8/layout/hierarchy1"/>
    <dgm:cxn modelId="{4BE6C3B0-F4D1-45D4-B5F0-2A74306C2FA8}" type="presParOf" srcId="{FDBDAFB5-782A-4EE4-AC6E-C5A4D4F44D4F}" destId="{054C3B80-4BCC-4C66-AABF-13A61913AB3E}" srcOrd="1" destOrd="0" presId="urn:microsoft.com/office/officeart/2005/8/layout/hierarchy1"/>
    <dgm:cxn modelId="{B476C60C-20C2-40CF-BB1A-7DA3D327A69C}" type="presParOf" srcId="{F9132221-7F12-47A2-82A5-B07A53364E73}" destId="{923C5D0D-922C-4A37-8E1B-B48D9A90EBA1}" srcOrd="4" destOrd="0" presId="urn:microsoft.com/office/officeart/2005/8/layout/hierarchy1"/>
    <dgm:cxn modelId="{93545DA8-4068-4028-BDAC-210AFC040666}" type="presParOf" srcId="{F9132221-7F12-47A2-82A5-B07A53364E73}" destId="{4240DA95-4629-4B7E-9AB9-EC16DF4D6C21}" srcOrd="5" destOrd="0" presId="urn:microsoft.com/office/officeart/2005/8/layout/hierarchy1"/>
    <dgm:cxn modelId="{3C871E37-E310-47E7-8947-150C5F39CB2F}" type="presParOf" srcId="{4240DA95-4629-4B7E-9AB9-EC16DF4D6C21}" destId="{6E613C62-D87F-4CE5-8788-1842FCAD3969}" srcOrd="0" destOrd="0" presId="urn:microsoft.com/office/officeart/2005/8/layout/hierarchy1"/>
    <dgm:cxn modelId="{451554F1-281B-4EDE-9E29-BB53636DFCCE}" type="presParOf" srcId="{6E613C62-D87F-4CE5-8788-1842FCAD3969}" destId="{EF37F3E0-FB5B-4B77-8051-461CE67EBD0B}" srcOrd="0" destOrd="0" presId="urn:microsoft.com/office/officeart/2005/8/layout/hierarchy1"/>
    <dgm:cxn modelId="{D2E691CA-3C81-4839-9ACB-C1E808CE2F9C}" type="presParOf" srcId="{6E613C62-D87F-4CE5-8788-1842FCAD3969}" destId="{3B0B7499-E086-426D-B289-0E4C6971A9A5}" srcOrd="1" destOrd="0" presId="urn:microsoft.com/office/officeart/2005/8/layout/hierarchy1"/>
    <dgm:cxn modelId="{F7F7EA48-A4C9-4977-9D16-D94F27E921D3}" type="presParOf" srcId="{4240DA95-4629-4B7E-9AB9-EC16DF4D6C21}" destId="{E11FBDAA-0E86-45D7-B9D8-D127E845662E}" srcOrd="1" destOrd="0" presId="urn:microsoft.com/office/officeart/2005/8/layout/hierarchy1"/>
    <dgm:cxn modelId="{95A66424-4ACB-46DD-8C5C-8B0B8C1A06AF}" type="presParOf" srcId="{F9132221-7F12-47A2-82A5-B07A53364E73}" destId="{4F68A048-18A1-4042-9028-E31F3360D5CB}" srcOrd="6" destOrd="0" presId="urn:microsoft.com/office/officeart/2005/8/layout/hierarchy1"/>
    <dgm:cxn modelId="{FB49F8A9-C1DC-40AC-9CF7-5360C7AB26D8}" type="presParOf" srcId="{F9132221-7F12-47A2-82A5-B07A53364E73}" destId="{89C1C80A-EB58-4AD3-BD35-E1E3215671AD}" srcOrd="7" destOrd="0" presId="urn:microsoft.com/office/officeart/2005/8/layout/hierarchy1"/>
    <dgm:cxn modelId="{9FF343A5-BB3B-410C-B711-E9E7479C0476}" type="presParOf" srcId="{89C1C80A-EB58-4AD3-BD35-E1E3215671AD}" destId="{7652FEB1-4B6D-4DF1-B69F-BCAECC3E902A}" srcOrd="0" destOrd="0" presId="urn:microsoft.com/office/officeart/2005/8/layout/hierarchy1"/>
    <dgm:cxn modelId="{9EC99A2B-DFCD-4BC9-A7E3-09E69FE6E4F3}" type="presParOf" srcId="{7652FEB1-4B6D-4DF1-B69F-BCAECC3E902A}" destId="{437E7EAD-A6E3-4958-9787-930EC91BDFD0}" srcOrd="0" destOrd="0" presId="urn:microsoft.com/office/officeart/2005/8/layout/hierarchy1"/>
    <dgm:cxn modelId="{85B7E0DD-2464-4B1B-A801-D0D442586417}" type="presParOf" srcId="{7652FEB1-4B6D-4DF1-B69F-BCAECC3E902A}" destId="{8D865F6E-2F73-40ED-A1D6-FD31FF6648D6}" srcOrd="1" destOrd="0" presId="urn:microsoft.com/office/officeart/2005/8/layout/hierarchy1"/>
    <dgm:cxn modelId="{3AF58566-C12C-43EF-8561-F26D978577B9}" type="presParOf" srcId="{89C1C80A-EB58-4AD3-BD35-E1E3215671AD}" destId="{8B458FBF-02B8-40DC-9E32-721D8FA4AB6A}"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065978-5B85-4247-BEB4-02170958236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CA"/>
        </a:p>
      </dgm:t>
    </dgm:pt>
    <dgm:pt modelId="{F9DCF915-8F56-46A2-BAEB-BE0F7CF8E739}">
      <dgm:prSet phldrT="[Text]"/>
      <dgm:spPr/>
      <dgm:t>
        <a:bodyPr/>
        <a:lstStyle/>
        <a:p>
          <a:r>
            <a:rPr lang="en-CA" dirty="0"/>
            <a:t>Unsupervised</a:t>
          </a:r>
        </a:p>
      </dgm:t>
    </dgm:pt>
    <dgm:pt modelId="{9BD68F7E-ADA9-49D2-B103-35A990FE02C7}" type="parTrans" cxnId="{DA346F26-6F7B-4D02-8C99-3479856811D6}">
      <dgm:prSet/>
      <dgm:spPr/>
      <dgm:t>
        <a:bodyPr/>
        <a:lstStyle/>
        <a:p>
          <a:endParaRPr lang="en-CA"/>
        </a:p>
      </dgm:t>
    </dgm:pt>
    <dgm:pt modelId="{DDF0D896-31B5-45C3-B77E-8A1694A70406}" type="sibTrans" cxnId="{DA346F26-6F7B-4D02-8C99-3479856811D6}">
      <dgm:prSet/>
      <dgm:spPr/>
      <dgm:t>
        <a:bodyPr/>
        <a:lstStyle/>
        <a:p>
          <a:endParaRPr lang="en-CA"/>
        </a:p>
      </dgm:t>
    </dgm:pt>
    <dgm:pt modelId="{7CEC7D2B-E641-4410-B5A7-979B203797FD}">
      <dgm:prSet phldrT="[Text]"/>
      <dgm:spPr/>
      <dgm:t>
        <a:bodyPr/>
        <a:lstStyle/>
        <a:p>
          <a:r>
            <a:rPr lang="en-CA" dirty="0"/>
            <a:t>Clustering</a:t>
          </a:r>
        </a:p>
      </dgm:t>
    </dgm:pt>
    <dgm:pt modelId="{E61C09F7-EA4B-418A-B028-15C0FD0528C5}" type="parTrans" cxnId="{C4A5EB45-E9DF-4D03-86ED-9A6EBBAB3EF5}">
      <dgm:prSet/>
      <dgm:spPr/>
      <dgm:t>
        <a:bodyPr/>
        <a:lstStyle/>
        <a:p>
          <a:endParaRPr lang="en-CA"/>
        </a:p>
      </dgm:t>
    </dgm:pt>
    <dgm:pt modelId="{0F263DB8-8BF4-488C-8410-BE62AC545D66}" type="sibTrans" cxnId="{C4A5EB45-E9DF-4D03-86ED-9A6EBBAB3EF5}">
      <dgm:prSet/>
      <dgm:spPr/>
      <dgm:t>
        <a:bodyPr/>
        <a:lstStyle/>
        <a:p>
          <a:endParaRPr lang="en-CA"/>
        </a:p>
      </dgm:t>
    </dgm:pt>
    <dgm:pt modelId="{2EC1BBD2-5E30-45CA-99E1-20D9021788E7}">
      <dgm:prSet phldrT="[Text]"/>
      <dgm:spPr/>
      <dgm:t>
        <a:bodyPr/>
        <a:lstStyle/>
        <a:p>
          <a:r>
            <a:rPr lang="en-CA" dirty="0"/>
            <a:t>Anomaly Detection</a:t>
          </a:r>
        </a:p>
      </dgm:t>
    </dgm:pt>
    <dgm:pt modelId="{9896F0A7-C129-4DAF-90BF-782503AE9F39}" type="parTrans" cxnId="{93A8EA66-BC42-4271-9E8A-F60A7C84A52B}">
      <dgm:prSet/>
      <dgm:spPr/>
      <dgm:t>
        <a:bodyPr/>
        <a:lstStyle/>
        <a:p>
          <a:endParaRPr lang="en-CA"/>
        </a:p>
      </dgm:t>
    </dgm:pt>
    <dgm:pt modelId="{2CBD6169-634F-4CD8-AE4C-C263BE731765}" type="sibTrans" cxnId="{93A8EA66-BC42-4271-9E8A-F60A7C84A52B}">
      <dgm:prSet/>
      <dgm:spPr/>
      <dgm:t>
        <a:bodyPr/>
        <a:lstStyle/>
        <a:p>
          <a:endParaRPr lang="en-CA"/>
        </a:p>
      </dgm:t>
    </dgm:pt>
    <dgm:pt modelId="{CC104454-3246-4E24-911D-AA8790344E09}">
      <dgm:prSet phldrT="[Text]"/>
      <dgm:spPr/>
      <dgm:t>
        <a:bodyPr/>
        <a:lstStyle/>
        <a:p>
          <a:r>
            <a:rPr lang="en-CA" dirty="0"/>
            <a:t>Shit-Mean</a:t>
          </a:r>
        </a:p>
      </dgm:t>
    </dgm:pt>
    <dgm:pt modelId="{37676A8C-052F-420B-BF20-37BEFF0A0310}" type="parTrans" cxnId="{3FCB8486-33D2-4815-8B68-8E02569F080A}">
      <dgm:prSet/>
      <dgm:spPr/>
      <dgm:t>
        <a:bodyPr/>
        <a:lstStyle/>
        <a:p>
          <a:endParaRPr lang="en-CA"/>
        </a:p>
      </dgm:t>
    </dgm:pt>
    <dgm:pt modelId="{8F867466-3B41-48B1-B121-521934CB6ACF}" type="sibTrans" cxnId="{3FCB8486-33D2-4815-8B68-8E02569F080A}">
      <dgm:prSet/>
      <dgm:spPr/>
      <dgm:t>
        <a:bodyPr/>
        <a:lstStyle/>
        <a:p>
          <a:endParaRPr lang="en-CA"/>
        </a:p>
      </dgm:t>
    </dgm:pt>
    <dgm:pt modelId="{C67820F4-1010-4A13-B764-5EA4675C43B6}">
      <dgm:prSet phldrT="[Text]"/>
      <dgm:spPr/>
      <dgm:t>
        <a:bodyPr/>
        <a:lstStyle/>
        <a:p>
          <a:r>
            <a:rPr lang="en-CA" dirty="0"/>
            <a:t>Mixture Model</a:t>
          </a:r>
        </a:p>
      </dgm:t>
    </dgm:pt>
    <dgm:pt modelId="{B1FD3263-5012-43CD-98B1-7D3066BDA769}" type="parTrans" cxnId="{24F159C7-3E48-45E2-A1D7-D4BAF647ED18}">
      <dgm:prSet/>
      <dgm:spPr/>
      <dgm:t>
        <a:bodyPr/>
        <a:lstStyle/>
        <a:p>
          <a:endParaRPr lang="en-CA"/>
        </a:p>
      </dgm:t>
    </dgm:pt>
    <dgm:pt modelId="{53256B87-672D-4749-A686-31DE8452D1F3}" type="sibTrans" cxnId="{24F159C7-3E48-45E2-A1D7-D4BAF647ED18}">
      <dgm:prSet/>
      <dgm:spPr/>
      <dgm:t>
        <a:bodyPr/>
        <a:lstStyle/>
        <a:p>
          <a:endParaRPr lang="en-CA"/>
        </a:p>
      </dgm:t>
    </dgm:pt>
    <dgm:pt modelId="{63C5E639-EA5C-E84A-82B4-8943F5440A56}">
      <dgm:prSet phldrT="[Text]"/>
      <dgm:spPr/>
      <dgm:t>
        <a:bodyPr/>
        <a:lstStyle/>
        <a:p>
          <a:r>
            <a:rPr lang="en-CA" b="0" i="0" dirty="0"/>
            <a:t>Hierarchical clustering</a:t>
          </a:r>
          <a:endParaRPr lang="en-CA" dirty="0"/>
        </a:p>
      </dgm:t>
    </dgm:pt>
    <dgm:pt modelId="{CC68E620-4FB2-5642-A431-52077317D7CF}" type="parTrans" cxnId="{9E528B4B-E59F-2547-85E9-8891CE974D57}">
      <dgm:prSet/>
      <dgm:spPr/>
      <dgm:t>
        <a:bodyPr/>
        <a:lstStyle/>
        <a:p>
          <a:endParaRPr lang="en-US"/>
        </a:p>
      </dgm:t>
    </dgm:pt>
    <dgm:pt modelId="{EBCF67B5-2E96-DF4A-A3C0-D8B936A092C0}" type="sibTrans" cxnId="{9E528B4B-E59F-2547-85E9-8891CE974D57}">
      <dgm:prSet/>
      <dgm:spPr/>
      <dgm:t>
        <a:bodyPr/>
        <a:lstStyle/>
        <a:p>
          <a:endParaRPr lang="en-US"/>
        </a:p>
      </dgm:t>
    </dgm:pt>
    <dgm:pt modelId="{803A5F4A-50E3-AB45-B380-2C868F8337F1}">
      <dgm:prSet phldrT="[Text]"/>
      <dgm:spPr/>
      <dgm:t>
        <a:bodyPr/>
        <a:lstStyle/>
        <a:p>
          <a:r>
            <a:rPr lang="en-CA" b="0" i="0" dirty="0"/>
            <a:t>Local outlier factor</a:t>
          </a:r>
          <a:endParaRPr lang="en-CA" dirty="0"/>
        </a:p>
      </dgm:t>
    </dgm:pt>
    <dgm:pt modelId="{640CC10D-3433-6248-9B34-D473C55588A2}" type="parTrans" cxnId="{315C1CF4-811E-6540-AF6B-C2FFF68C86F7}">
      <dgm:prSet/>
      <dgm:spPr/>
      <dgm:t>
        <a:bodyPr/>
        <a:lstStyle/>
        <a:p>
          <a:endParaRPr lang="en-US"/>
        </a:p>
      </dgm:t>
    </dgm:pt>
    <dgm:pt modelId="{B5EB1DAC-5778-0144-AFBC-646EFB9D1B4F}" type="sibTrans" cxnId="{315C1CF4-811E-6540-AF6B-C2FFF68C86F7}">
      <dgm:prSet/>
      <dgm:spPr/>
      <dgm:t>
        <a:bodyPr/>
        <a:lstStyle/>
        <a:p>
          <a:endParaRPr lang="en-US"/>
        </a:p>
      </dgm:t>
    </dgm:pt>
    <dgm:pt modelId="{07387350-9E13-3E4B-856E-89450873D079}">
      <dgm:prSet phldrT="[Text]"/>
      <dgm:spPr/>
      <dgm:t>
        <a:bodyPr/>
        <a:lstStyle/>
        <a:p>
          <a:r>
            <a:rPr lang="en-CA" b="0" i="0" dirty="0"/>
            <a:t>DBSCAN</a:t>
          </a:r>
          <a:endParaRPr lang="en-CA" dirty="0"/>
        </a:p>
      </dgm:t>
    </dgm:pt>
    <dgm:pt modelId="{F064CE9F-ABC2-0E43-9349-8795A3DA0533}" type="parTrans" cxnId="{20AB1FAE-BC30-4C47-ABFB-167833FD850F}">
      <dgm:prSet/>
      <dgm:spPr/>
      <dgm:t>
        <a:bodyPr/>
        <a:lstStyle/>
        <a:p>
          <a:endParaRPr lang="en-US"/>
        </a:p>
      </dgm:t>
    </dgm:pt>
    <dgm:pt modelId="{67055EBE-233D-EB45-BEA6-3C3EB3578A76}" type="sibTrans" cxnId="{20AB1FAE-BC30-4C47-ABFB-167833FD850F}">
      <dgm:prSet/>
      <dgm:spPr/>
      <dgm:t>
        <a:bodyPr/>
        <a:lstStyle/>
        <a:p>
          <a:endParaRPr lang="en-US"/>
        </a:p>
      </dgm:t>
    </dgm:pt>
    <dgm:pt modelId="{335F63D2-5E01-D748-BB8B-4BD6D7DE5C11}">
      <dgm:prSet phldrT="[Text]"/>
      <dgm:spPr/>
      <dgm:t>
        <a:bodyPr/>
        <a:lstStyle/>
        <a:p>
          <a:r>
            <a:rPr lang="en-CA" b="0" i="0" dirty="0"/>
            <a:t>OPTICS algorithm</a:t>
          </a:r>
          <a:endParaRPr lang="en-CA" dirty="0"/>
        </a:p>
      </dgm:t>
    </dgm:pt>
    <dgm:pt modelId="{0D702FC6-D6DE-124A-97BF-3284EE31D084}" type="parTrans" cxnId="{44BA76D2-667D-524E-BF32-08F62C7FC980}">
      <dgm:prSet/>
      <dgm:spPr/>
      <dgm:t>
        <a:bodyPr/>
        <a:lstStyle/>
        <a:p>
          <a:endParaRPr lang="en-US"/>
        </a:p>
      </dgm:t>
    </dgm:pt>
    <dgm:pt modelId="{DD5E6A03-464A-3B44-8EA6-51DB816469D1}" type="sibTrans" cxnId="{44BA76D2-667D-524E-BF32-08F62C7FC980}">
      <dgm:prSet/>
      <dgm:spPr/>
      <dgm:t>
        <a:bodyPr/>
        <a:lstStyle/>
        <a:p>
          <a:endParaRPr lang="en-US"/>
        </a:p>
      </dgm:t>
    </dgm:pt>
    <dgm:pt modelId="{CD07666F-BFE3-445D-9DFB-6998EFD24A47}" type="pres">
      <dgm:prSet presAssocID="{AA065978-5B85-4247-BEB4-021709582366}" presName="hierChild1" presStyleCnt="0">
        <dgm:presLayoutVars>
          <dgm:chPref val="1"/>
          <dgm:dir/>
          <dgm:animOne val="branch"/>
          <dgm:animLvl val="lvl"/>
          <dgm:resizeHandles/>
        </dgm:presLayoutVars>
      </dgm:prSet>
      <dgm:spPr/>
    </dgm:pt>
    <dgm:pt modelId="{BEAC344B-21E4-4708-ABC6-5EDB5BE7AE25}" type="pres">
      <dgm:prSet presAssocID="{F9DCF915-8F56-46A2-BAEB-BE0F7CF8E739}" presName="hierRoot1" presStyleCnt="0"/>
      <dgm:spPr/>
    </dgm:pt>
    <dgm:pt modelId="{9D364627-D8F6-4C57-A130-02BE214573D0}" type="pres">
      <dgm:prSet presAssocID="{F9DCF915-8F56-46A2-BAEB-BE0F7CF8E739}" presName="composite" presStyleCnt="0"/>
      <dgm:spPr/>
    </dgm:pt>
    <dgm:pt modelId="{17A74A57-CBFE-4C44-B03A-F8CE60235689}" type="pres">
      <dgm:prSet presAssocID="{F9DCF915-8F56-46A2-BAEB-BE0F7CF8E739}" presName="background" presStyleLbl="node0" presStyleIdx="0" presStyleCnt="1"/>
      <dgm:spPr/>
    </dgm:pt>
    <dgm:pt modelId="{44733E4B-7C2D-4058-8353-6E948F252C24}" type="pres">
      <dgm:prSet presAssocID="{F9DCF915-8F56-46A2-BAEB-BE0F7CF8E739}" presName="text" presStyleLbl="fgAcc0" presStyleIdx="0" presStyleCnt="1">
        <dgm:presLayoutVars>
          <dgm:chPref val="3"/>
        </dgm:presLayoutVars>
      </dgm:prSet>
      <dgm:spPr/>
    </dgm:pt>
    <dgm:pt modelId="{A3395D7F-25EC-4EF0-AAD5-9F6A0F7B985A}" type="pres">
      <dgm:prSet presAssocID="{F9DCF915-8F56-46A2-BAEB-BE0F7CF8E739}" presName="hierChild2" presStyleCnt="0"/>
      <dgm:spPr/>
    </dgm:pt>
    <dgm:pt modelId="{4264A72B-7892-406E-A49A-63CDC7569D50}" type="pres">
      <dgm:prSet presAssocID="{E61C09F7-EA4B-418A-B028-15C0FD0528C5}" presName="Name10" presStyleLbl="parChTrans1D2" presStyleIdx="0" presStyleCnt="2"/>
      <dgm:spPr/>
    </dgm:pt>
    <dgm:pt modelId="{0E45CBBD-0CAA-4259-B3B6-CD827F60B1CE}" type="pres">
      <dgm:prSet presAssocID="{7CEC7D2B-E641-4410-B5A7-979B203797FD}" presName="hierRoot2" presStyleCnt="0"/>
      <dgm:spPr/>
    </dgm:pt>
    <dgm:pt modelId="{6AD0178D-2AE4-48C7-9D3D-FDDCF41D51BB}" type="pres">
      <dgm:prSet presAssocID="{7CEC7D2B-E641-4410-B5A7-979B203797FD}" presName="composite2" presStyleCnt="0"/>
      <dgm:spPr/>
    </dgm:pt>
    <dgm:pt modelId="{CD036402-BAF4-4BF5-99D6-C953E1643221}" type="pres">
      <dgm:prSet presAssocID="{7CEC7D2B-E641-4410-B5A7-979B203797FD}" presName="background2" presStyleLbl="node2" presStyleIdx="0" presStyleCnt="2"/>
      <dgm:spPr/>
    </dgm:pt>
    <dgm:pt modelId="{D7D90662-70D7-42DF-8CFB-07E04ABA4343}" type="pres">
      <dgm:prSet presAssocID="{7CEC7D2B-E641-4410-B5A7-979B203797FD}" presName="text2" presStyleLbl="fgAcc2" presStyleIdx="0" presStyleCnt="2">
        <dgm:presLayoutVars>
          <dgm:chPref val="3"/>
        </dgm:presLayoutVars>
      </dgm:prSet>
      <dgm:spPr/>
    </dgm:pt>
    <dgm:pt modelId="{1E48E77E-8A00-408A-B02A-3ECF11EAAC14}" type="pres">
      <dgm:prSet presAssocID="{7CEC7D2B-E641-4410-B5A7-979B203797FD}" presName="hierChild3" presStyleCnt="0"/>
      <dgm:spPr/>
    </dgm:pt>
    <dgm:pt modelId="{F26B0F35-A618-49FB-A03C-DED279CBC885}" type="pres">
      <dgm:prSet presAssocID="{37676A8C-052F-420B-BF20-37BEFF0A0310}" presName="Name17" presStyleLbl="parChTrans1D3" presStyleIdx="0" presStyleCnt="6"/>
      <dgm:spPr/>
    </dgm:pt>
    <dgm:pt modelId="{082283DD-21D1-44F9-8994-E99A58650F9D}" type="pres">
      <dgm:prSet presAssocID="{CC104454-3246-4E24-911D-AA8790344E09}" presName="hierRoot3" presStyleCnt="0"/>
      <dgm:spPr/>
    </dgm:pt>
    <dgm:pt modelId="{04A88E6E-AE16-410D-8A01-B3A5094544DC}" type="pres">
      <dgm:prSet presAssocID="{CC104454-3246-4E24-911D-AA8790344E09}" presName="composite3" presStyleCnt="0"/>
      <dgm:spPr/>
    </dgm:pt>
    <dgm:pt modelId="{51ED87DC-839D-49E8-96A1-C0383B9749B1}" type="pres">
      <dgm:prSet presAssocID="{CC104454-3246-4E24-911D-AA8790344E09}" presName="background3" presStyleLbl="node3" presStyleIdx="0" presStyleCnt="6"/>
      <dgm:spPr/>
    </dgm:pt>
    <dgm:pt modelId="{9D1C8C12-3F2B-430D-B88C-F75758485507}" type="pres">
      <dgm:prSet presAssocID="{CC104454-3246-4E24-911D-AA8790344E09}" presName="text3" presStyleLbl="fgAcc3" presStyleIdx="0" presStyleCnt="6">
        <dgm:presLayoutVars>
          <dgm:chPref val="3"/>
        </dgm:presLayoutVars>
      </dgm:prSet>
      <dgm:spPr/>
    </dgm:pt>
    <dgm:pt modelId="{D2DD992A-581E-45FC-BAFA-367480033CE0}" type="pres">
      <dgm:prSet presAssocID="{CC104454-3246-4E24-911D-AA8790344E09}" presName="hierChild4" presStyleCnt="0"/>
      <dgm:spPr/>
    </dgm:pt>
    <dgm:pt modelId="{10C094C4-6C1C-4EA6-A1F6-EC745AF6419A}" type="pres">
      <dgm:prSet presAssocID="{B1FD3263-5012-43CD-98B1-7D3066BDA769}" presName="Name17" presStyleLbl="parChTrans1D3" presStyleIdx="1" presStyleCnt="6"/>
      <dgm:spPr/>
    </dgm:pt>
    <dgm:pt modelId="{B9A00E24-EA88-4ED8-BC31-FC2310BEFCC4}" type="pres">
      <dgm:prSet presAssocID="{C67820F4-1010-4A13-B764-5EA4675C43B6}" presName="hierRoot3" presStyleCnt="0"/>
      <dgm:spPr/>
    </dgm:pt>
    <dgm:pt modelId="{4CCD7786-9160-4DD2-9BAA-421E3D5B7D0A}" type="pres">
      <dgm:prSet presAssocID="{C67820F4-1010-4A13-B764-5EA4675C43B6}" presName="composite3" presStyleCnt="0"/>
      <dgm:spPr/>
    </dgm:pt>
    <dgm:pt modelId="{806F4A64-9AD6-4C9D-92A4-9C01E53CE772}" type="pres">
      <dgm:prSet presAssocID="{C67820F4-1010-4A13-B764-5EA4675C43B6}" presName="background3" presStyleLbl="node3" presStyleIdx="1" presStyleCnt="6"/>
      <dgm:spPr/>
    </dgm:pt>
    <dgm:pt modelId="{F43B1983-CBFE-4136-8038-DDBC6686DE3D}" type="pres">
      <dgm:prSet presAssocID="{C67820F4-1010-4A13-B764-5EA4675C43B6}" presName="text3" presStyleLbl="fgAcc3" presStyleIdx="1" presStyleCnt="6">
        <dgm:presLayoutVars>
          <dgm:chPref val="3"/>
        </dgm:presLayoutVars>
      </dgm:prSet>
      <dgm:spPr/>
    </dgm:pt>
    <dgm:pt modelId="{DD6186B5-BD5B-47FC-867E-F46DB30C2AE2}" type="pres">
      <dgm:prSet presAssocID="{C67820F4-1010-4A13-B764-5EA4675C43B6}" presName="hierChild4" presStyleCnt="0"/>
      <dgm:spPr/>
    </dgm:pt>
    <dgm:pt modelId="{FE195A57-F591-4348-8AA8-5BADF5A21DE1}" type="pres">
      <dgm:prSet presAssocID="{CC68E620-4FB2-5642-A431-52077317D7CF}" presName="Name17" presStyleLbl="parChTrans1D3" presStyleIdx="2" presStyleCnt="6"/>
      <dgm:spPr/>
    </dgm:pt>
    <dgm:pt modelId="{D45A3254-F524-3A44-B504-4A3CB1BD7806}" type="pres">
      <dgm:prSet presAssocID="{63C5E639-EA5C-E84A-82B4-8943F5440A56}" presName="hierRoot3" presStyleCnt="0"/>
      <dgm:spPr/>
    </dgm:pt>
    <dgm:pt modelId="{D93E5AAD-A8DF-1744-A740-0F11E8A9C83A}" type="pres">
      <dgm:prSet presAssocID="{63C5E639-EA5C-E84A-82B4-8943F5440A56}" presName="composite3" presStyleCnt="0"/>
      <dgm:spPr/>
    </dgm:pt>
    <dgm:pt modelId="{37977D68-C129-A84D-81EA-C07884545E00}" type="pres">
      <dgm:prSet presAssocID="{63C5E639-EA5C-E84A-82B4-8943F5440A56}" presName="background3" presStyleLbl="node3" presStyleIdx="2" presStyleCnt="6"/>
      <dgm:spPr/>
    </dgm:pt>
    <dgm:pt modelId="{7B57CEA5-6EEF-6540-9831-36506FDC8AD7}" type="pres">
      <dgm:prSet presAssocID="{63C5E639-EA5C-E84A-82B4-8943F5440A56}" presName="text3" presStyleLbl="fgAcc3" presStyleIdx="2" presStyleCnt="6">
        <dgm:presLayoutVars>
          <dgm:chPref val="3"/>
        </dgm:presLayoutVars>
      </dgm:prSet>
      <dgm:spPr/>
    </dgm:pt>
    <dgm:pt modelId="{BD1C8FB4-C6B1-9247-9527-92D74386452A}" type="pres">
      <dgm:prSet presAssocID="{63C5E639-EA5C-E84A-82B4-8943F5440A56}" presName="hierChild4" presStyleCnt="0"/>
      <dgm:spPr/>
    </dgm:pt>
    <dgm:pt modelId="{60B9FD50-9E40-B74E-83FB-A55CA2D4E3BB}" type="pres">
      <dgm:prSet presAssocID="{F064CE9F-ABC2-0E43-9349-8795A3DA0533}" presName="Name17" presStyleLbl="parChTrans1D3" presStyleIdx="3" presStyleCnt="6"/>
      <dgm:spPr/>
    </dgm:pt>
    <dgm:pt modelId="{167E3450-A949-264B-81AD-9C6750830026}" type="pres">
      <dgm:prSet presAssocID="{07387350-9E13-3E4B-856E-89450873D079}" presName="hierRoot3" presStyleCnt="0"/>
      <dgm:spPr/>
    </dgm:pt>
    <dgm:pt modelId="{7DCA9964-BF48-1E48-93E7-754F788A94CD}" type="pres">
      <dgm:prSet presAssocID="{07387350-9E13-3E4B-856E-89450873D079}" presName="composite3" presStyleCnt="0"/>
      <dgm:spPr/>
    </dgm:pt>
    <dgm:pt modelId="{AB37C214-1C8C-7A4D-A1DD-AC4D55D399F1}" type="pres">
      <dgm:prSet presAssocID="{07387350-9E13-3E4B-856E-89450873D079}" presName="background3" presStyleLbl="node3" presStyleIdx="3" presStyleCnt="6"/>
      <dgm:spPr/>
    </dgm:pt>
    <dgm:pt modelId="{F9E87796-DDDF-F149-A26B-4C0286E96593}" type="pres">
      <dgm:prSet presAssocID="{07387350-9E13-3E4B-856E-89450873D079}" presName="text3" presStyleLbl="fgAcc3" presStyleIdx="3" presStyleCnt="6">
        <dgm:presLayoutVars>
          <dgm:chPref val="3"/>
        </dgm:presLayoutVars>
      </dgm:prSet>
      <dgm:spPr/>
    </dgm:pt>
    <dgm:pt modelId="{FCCD133B-9219-164D-AEF0-0FFAEA0D422F}" type="pres">
      <dgm:prSet presAssocID="{07387350-9E13-3E4B-856E-89450873D079}" presName="hierChild4" presStyleCnt="0"/>
      <dgm:spPr/>
    </dgm:pt>
    <dgm:pt modelId="{A73EF77E-34C1-6642-B1BE-7CCAC9EB8C06}" type="pres">
      <dgm:prSet presAssocID="{0D702FC6-D6DE-124A-97BF-3284EE31D084}" presName="Name17" presStyleLbl="parChTrans1D3" presStyleIdx="4" presStyleCnt="6"/>
      <dgm:spPr/>
    </dgm:pt>
    <dgm:pt modelId="{D09AE399-A28F-6248-828E-8AD17C5F02B4}" type="pres">
      <dgm:prSet presAssocID="{335F63D2-5E01-D748-BB8B-4BD6D7DE5C11}" presName="hierRoot3" presStyleCnt="0"/>
      <dgm:spPr/>
    </dgm:pt>
    <dgm:pt modelId="{B9E52431-BEEF-B446-B7BB-F4C9017A81B3}" type="pres">
      <dgm:prSet presAssocID="{335F63D2-5E01-D748-BB8B-4BD6D7DE5C11}" presName="composite3" presStyleCnt="0"/>
      <dgm:spPr/>
    </dgm:pt>
    <dgm:pt modelId="{FAE8DB2D-8BF4-7D4E-89B2-A3704A9B3C99}" type="pres">
      <dgm:prSet presAssocID="{335F63D2-5E01-D748-BB8B-4BD6D7DE5C11}" presName="background3" presStyleLbl="node3" presStyleIdx="4" presStyleCnt="6"/>
      <dgm:spPr/>
    </dgm:pt>
    <dgm:pt modelId="{E5B0AADA-9559-9240-9C95-B9A20B7660D6}" type="pres">
      <dgm:prSet presAssocID="{335F63D2-5E01-D748-BB8B-4BD6D7DE5C11}" presName="text3" presStyleLbl="fgAcc3" presStyleIdx="4" presStyleCnt="6">
        <dgm:presLayoutVars>
          <dgm:chPref val="3"/>
        </dgm:presLayoutVars>
      </dgm:prSet>
      <dgm:spPr/>
    </dgm:pt>
    <dgm:pt modelId="{0702BB53-AC3D-C34B-BFCA-5BDCF8121DE1}" type="pres">
      <dgm:prSet presAssocID="{335F63D2-5E01-D748-BB8B-4BD6D7DE5C11}" presName="hierChild4" presStyleCnt="0"/>
      <dgm:spPr/>
    </dgm:pt>
    <dgm:pt modelId="{4AF12D1B-9492-5E49-9902-DC4BCA3B484F}" type="pres">
      <dgm:prSet presAssocID="{9896F0A7-C129-4DAF-90BF-782503AE9F39}" presName="Name10" presStyleLbl="parChTrans1D2" presStyleIdx="1" presStyleCnt="2"/>
      <dgm:spPr/>
    </dgm:pt>
    <dgm:pt modelId="{29F74A61-9232-1141-9C71-5AFD7F08B0E3}" type="pres">
      <dgm:prSet presAssocID="{2EC1BBD2-5E30-45CA-99E1-20D9021788E7}" presName="hierRoot2" presStyleCnt="0"/>
      <dgm:spPr/>
    </dgm:pt>
    <dgm:pt modelId="{0170987F-4A8D-7E4E-B178-E34926A2B19A}" type="pres">
      <dgm:prSet presAssocID="{2EC1BBD2-5E30-45CA-99E1-20D9021788E7}" presName="composite2" presStyleCnt="0"/>
      <dgm:spPr/>
    </dgm:pt>
    <dgm:pt modelId="{96E33C7A-40DC-A344-9530-B4BC06902BB4}" type="pres">
      <dgm:prSet presAssocID="{2EC1BBD2-5E30-45CA-99E1-20D9021788E7}" presName="background2" presStyleLbl="node2" presStyleIdx="1" presStyleCnt="2"/>
      <dgm:spPr/>
    </dgm:pt>
    <dgm:pt modelId="{484FD509-A978-EC41-AE61-6FEB377DB022}" type="pres">
      <dgm:prSet presAssocID="{2EC1BBD2-5E30-45CA-99E1-20D9021788E7}" presName="text2" presStyleLbl="fgAcc2" presStyleIdx="1" presStyleCnt="2">
        <dgm:presLayoutVars>
          <dgm:chPref val="3"/>
        </dgm:presLayoutVars>
      </dgm:prSet>
      <dgm:spPr/>
    </dgm:pt>
    <dgm:pt modelId="{1F3078A4-6C26-6A4A-8EC1-3B7E39D6B002}" type="pres">
      <dgm:prSet presAssocID="{2EC1BBD2-5E30-45CA-99E1-20D9021788E7}" presName="hierChild3" presStyleCnt="0"/>
      <dgm:spPr/>
    </dgm:pt>
    <dgm:pt modelId="{CA4C0976-A814-FC45-A984-C08D68046698}" type="pres">
      <dgm:prSet presAssocID="{640CC10D-3433-6248-9B34-D473C55588A2}" presName="Name17" presStyleLbl="parChTrans1D3" presStyleIdx="5" presStyleCnt="6"/>
      <dgm:spPr/>
    </dgm:pt>
    <dgm:pt modelId="{6530E5E1-57AA-6846-ADBE-447FE64465AE}" type="pres">
      <dgm:prSet presAssocID="{803A5F4A-50E3-AB45-B380-2C868F8337F1}" presName="hierRoot3" presStyleCnt="0"/>
      <dgm:spPr/>
    </dgm:pt>
    <dgm:pt modelId="{257E3C60-A415-B143-BAF7-880270EF6A1C}" type="pres">
      <dgm:prSet presAssocID="{803A5F4A-50E3-AB45-B380-2C868F8337F1}" presName="composite3" presStyleCnt="0"/>
      <dgm:spPr/>
    </dgm:pt>
    <dgm:pt modelId="{EAC35EAF-721C-8145-919E-920419A7570C}" type="pres">
      <dgm:prSet presAssocID="{803A5F4A-50E3-AB45-B380-2C868F8337F1}" presName="background3" presStyleLbl="node3" presStyleIdx="5" presStyleCnt="6"/>
      <dgm:spPr/>
    </dgm:pt>
    <dgm:pt modelId="{963DC135-7026-0E4C-87F6-6479B0085061}" type="pres">
      <dgm:prSet presAssocID="{803A5F4A-50E3-AB45-B380-2C868F8337F1}" presName="text3" presStyleLbl="fgAcc3" presStyleIdx="5" presStyleCnt="6">
        <dgm:presLayoutVars>
          <dgm:chPref val="3"/>
        </dgm:presLayoutVars>
      </dgm:prSet>
      <dgm:spPr/>
    </dgm:pt>
    <dgm:pt modelId="{2FFB87AE-FAD5-7645-94E6-144449342FA2}" type="pres">
      <dgm:prSet presAssocID="{803A5F4A-50E3-AB45-B380-2C868F8337F1}" presName="hierChild4" presStyleCnt="0"/>
      <dgm:spPr/>
    </dgm:pt>
  </dgm:ptLst>
  <dgm:cxnLst>
    <dgm:cxn modelId="{E9ACA41C-2258-2D4B-9F8F-12718580BA6C}" type="presOf" srcId="{335F63D2-5E01-D748-BB8B-4BD6D7DE5C11}" destId="{E5B0AADA-9559-9240-9C95-B9A20B7660D6}" srcOrd="0" destOrd="0" presId="urn:microsoft.com/office/officeart/2005/8/layout/hierarchy1"/>
    <dgm:cxn modelId="{77CB591D-B84E-4E28-B710-C699E6180B94}" type="presOf" srcId="{C67820F4-1010-4A13-B764-5EA4675C43B6}" destId="{F43B1983-CBFE-4136-8038-DDBC6686DE3D}" srcOrd="0" destOrd="0" presId="urn:microsoft.com/office/officeart/2005/8/layout/hierarchy1"/>
    <dgm:cxn modelId="{DA346F26-6F7B-4D02-8C99-3479856811D6}" srcId="{AA065978-5B85-4247-BEB4-021709582366}" destId="{F9DCF915-8F56-46A2-BAEB-BE0F7CF8E739}" srcOrd="0" destOrd="0" parTransId="{9BD68F7E-ADA9-49D2-B103-35A990FE02C7}" sibTransId="{DDF0D896-31B5-45C3-B77E-8A1694A70406}"/>
    <dgm:cxn modelId="{7D575027-0714-4249-B07E-06B0FC1F1CF0}" type="presOf" srcId="{E61C09F7-EA4B-418A-B028-15C0FD0528C5}" destId="{4264A72B-7892-406E-A49A-63CDC7569D50}" srcOrd="0" destOrd="0" presId="urn:microsoft.com/office/officeart/2005/8/layout/hierarchy1"/>
    <dgm:cxn modelId="{C4A5EB45-E9DF-4D03-86ED-9A6EBBAB3EF5}" srcId="{F9DCF915-8F56-46A2-BAEB-BE0F7CF8E739}" destId="{7CEC7D2B-E641-4410-B5A7-979B203797FD}" srcOrd="0" destOrd="0" parTransId="{E61C09F7-EA4B-418A-B028-15C0FD0528C5}" sibTransId="{0F263DB8-8BF4-488C-8410-BE62AC545D66}"/>
    <dgm:cxn modelId="{B6A4074B-7F32-1C4E-A956-83AEF6C20C6A}" type="presOf" srcId="{640CC10D-3433-6248-9B34-D473C55588A2}" destId="{CA4C0976-A814-FC45-A984-C08D68046698}" srcOrd="0" destOrd="0" presId="urn:microsoft.com/office/officeart/2005/8/layout/hierarchy1"/>
    <dgm:cxn modelId="{9E528B4B-E59F-2547-85E9-8891CE974D57}" srcId="{7CEC7D2B-E641-4410-B5A7-979B203797FD}" destId="{63C5E639-EA5C-E84A-82B4-8943F5440A56}" srcOrd="2" destOrd="0" parTransId="{CC68E620-4FB2-5642-A431-52077317D7CF}" sibTransId="{EBCF67B5-2E96-DF4A-A3C0-D8B936A092C0}"/>
    <dgm:cxn modelId="{171D1353-6AFB-7144-B4E1-BF7704B51046}" type="presOf" srcId="{CC68E620-4FB2-5642-A431-52077317D7CF}" destId="{FE195A57-F591-4348-8AA8-5BADF5A21DE1}" srcOrd="0" destOrd="0" presId="urn:microsoft.com/office/officeart/2005/8/layout/hierarchy1"/>
    <dgm:cxn modelId="{B1DAEC53-08AC-4650-844A-52FD6CC44102}" type="presOf" srcId="{AA065978-5B85-4247-BEB4-021709582366}" destId="{CD07666F-BFE3-445D-9DFB-6998EFD24A47}" srcOrd="0" destOrd="0" presId="urn:microsoft.com/office/officeart/2005/8/layout/hierarchy1"/>
    <dgm:cxn modelId="{23335754-A0F7-A344-8EAB-A3669CEE4396}" type="presOf" srcId="{0D702FC6-D6DE-124A-97BF-3284EE31D084}" destId="{A73EF77E-34C1-6642-B1BE-7CCAC9EB8C06}" srcOrd="0" destOrd="0" presId="urn:microsoft.com/office/officeart/2005/8/layout/hierarchy1"/>
    <dgm:cxn modelId="{467A5955-104C-664B-B1D4-8E2B0258C1D0}" type="presOf" srcId="{803A5F4A-50E3-AB45-B380-2C868F8337F1}" destId="{963DC135-7026-0E4C-87F6-6479B0085061}" srcOrd="0" destOrd="0" presId="urn:microsoft.com/office/officeart/2005/8/layout/hierarchy1"/>
    <dgm:cxn modelId="{93A8EA66-BC42-4271-9E8A-F60A7C84A52B}" srcId="{F9DCF915-8F56-46A2-BAEB-BE0F7CF8E739}" destId="{2EC1BBD2-5E30-45CA-99E1-20D9021788E7}" srcOrd="1" destOrd="0" parTransId="{9896F0A7-C129-4DAF-90BF-782503AE9F39}" sibTransId="{2CBD6169-634F-4CD8-AE4C-C263BE731765}"/>
    <dgm:cxn modelId="{CDEE4C71-55C3-AA48-9B8E-1355B56391B9}" type="presOf" srcId="{07387350-9E13-3E4B-856E-89450873D079}" destId="{F9E87796-DDDF-F149-A26B-4C0286E96593}" srcOrd="0" destOrd="0" presId="urn:microsoft.com/office/officeart/2005/8/layout/hierarchy1"/>
    <dgm:cxn modelId="{39E7D371-FB0D-6548-B7CB-7FA16F105AD2}" type="presOf" srcId="{9896F0A7-C129-4DAF-90BF-782503AE9F39}" destId="{4AF12D1B-9492-5E49-9902-DC4BCA3B484F}" srcOrd="0" destOrd="0" presId="urn:microsoft.com/office/officeart/2005/8/layout/hierarchy1"/>
    <dgm:cxn modelId="{3FCB8486-33D2-4815-8B68-8E02569F080A}" srcId="{7CEC7D2B-E641-4410-B5A7-979B203797FD}" destId="{CC104454-3246-4E24-911D-AA8790344E09}" srcOrd="0" destOrd="0" parTransId="{37676A8C-052F-420B-BF20-37BEFF0A0310}" sibTransId="{8F867466-3B41-48B1-B121-521934CB6ACF}"/>
    <dgm:cxn modelId="{E104E38D-F7F7-49D1-BD41-ACFFDA7FEC4D}" type="presOf" srcId="{7CEC7D2B-E641-4410-B5A7-979B203797FD}" destId="{D7D90662-70D7-42DF-8CFB-07E04ABA4343}" srcOrd="0" destOrd="0" presId="urn:microsoft.com/office/officeart/2005/8/layout/hierarchy1"/>
    <dgm:cxn modelId="{722528A0-386B-4829-A56D-C1E08BBA7C83}" type="presOf" srcId="{37676A8C-052F-420B-BF20-37BEFF0A0310}" destId="{F26B0F35-A618-49FB-A03C-DED279CBC885}" srcOrd="0" destOrd="0" presId="urn:microsoft.com/office/officeart/2005/8/layout/hierarchy1"/>
    <dgm:cxn modelId="{5A3932AC-A576-43F1-BD8D-7D416FA25C40}" type="presOf" srcId="{B1FD3263-5012-43CD-98B1-7D3066BDA769}" destId="{10C094C4-6C1C-4EA6-A1F6-EC745AF6419A}" srcOrd="0" destOrd="0" presId="urn:microsoft.com/office/officeart/2005/8/layout/hierarchy1"/>
    <dgm:cxn modelId="{20AB1FAE-BC30-4C47-ABFB-167833FD850F}" srcId="{7CEC7D2B-E641-4410-B5A7-979B203797FD}" destId="{07387350-9E13-3E4B-856E-89450873D079}" srcOrd="3" destOrd="0" parTransId="{F064CE9F-ABC2-0E43-9349-8795A3DA0533}" sibTransId="{67055EBE-233D-EB45-BEA6-3C3EB3578A76}"/>
    <dgm:cxn modelId="{1DDF00BE-1DAE-4BE3-86D6-466AE95F2FEB}" type="presOf" srcId="{F9DCF915-8F56-46A2-BAEB-BE0F7CF8E739}" destId="{44733E4B-7C2D-4058-8353-6E948F252C24}" srcOrd="0" destOrd="0" presId="urn:microsoft.com/office/officeart/2005/8/layout/hierarchy1"/>
    <dgm:cxn modelId="{24F159C7-3E48-45E2-A1D7-D4BAF647ED18}" srcId="{7CEC7D2B-E641-4410-B5A7-979B203797FD}" destId="{C67820F4-1010-4A13-B764-5EA4675C43B6}" srcOrd="1" destOrd="0" parTransId="{B1FD3263-5012-43CD-98B1-7D3066BDA769}" sibTransId="{53256B87-672D-4749-A686-31DE8452D1F3}"/>
    <dgm:cxn modelId="{44BA76D2-667D-524E-BF32-08F62C7FC980}" srcId="{7CEC7D2B-E641-4410-B5A7-979B203797FD}" destId="{335F63D2-5E01-D748-BB8B-4BD6D7DE5C11}" srcOrd="4" destOrd="0" parTransId="{0D702FC6-D6DE-124A-97BF-3284EE31D084}" sibTransId="{DD5E6A03-464A-3B44-8EA6-51DB816469D1}"/>
    <dgm:cxn modelId="{231978D5-60A7-E147-B9CD-784607E17652}" type="presOf" srcId="{63C5E639-EA5C-E84A-82B4-8943F5440A56}" destId="{7B57CEA5-6EEF-6540-9831-36506FDC8AD7}" srcOrd="0" destOrd="0" presId="urn:microsoft.com/office/officeart/2005/8/layout/hierarchy1"/>
    <dgm:cxn modelId="{315C1CF4-811E-6540-AF6B-C2FFF68C86F7}" srcId="{2EC1BBD2-5E30-45CA-99E1-20D9021788E7}" destId="{803A5F4A-50E3-AB45-B380-2C868F8337F1}" srcOrd="0" destOrd="0" parTransId="{640CC10D-3433-6248-9B34-D473C55588A2}" sibTransId="{B5EB1DAC-5778-0144-AFBC-646EFB9D1B4F}"/>
    <dgm:cxn modelId="{D2922BF6-2319-E24F-A285-E581F8418875}" type="presOf" srcId="{2EC1BBD2-5E30-45CA-99E1-20D9021788E7}" destId="{484FD509-A978-EC41-AE61-6FEB377DB022}" srcOrd="0" destOrd="0" presId="urn:microsoft.com/office/officeart/2005/8/layout/hierarchy1"/>
    <dgm:cxn modelId="{1D5FC0F7-678B-4BAE-B3EF-C7B11A96483A}" type="presOf" srcId="{CC104454-3246-4E24-911D-AA8790344E09}" destId="{9D1C8C12-3F2B-430D-B88C-F75758485507}" srcOrd="0" destOrd="0" presId="urn:microsoft.com/office/officeart/2005/8/layout/hierarchy1"/>
    <dgm:cxn modelId="{6E794FFB-EEC5-774E-A162-E4AE3D4234D7}" type="presOf" srcId="{F064CE9F-ABC2-0E43-9349-8795A3DA0533}" destId="{60B9FD50-9E40-B74E-83FB-A55CA2D4E3BB}" srcOrd="0" destOrd="0" presId="urn:microsoft.com/office/officeart/2005/8/layout/hierarchy1"/>
    <dgm:cxn modelId="{5128698E-5283-4AC5-BF5D-1DFBA31E01D7}" type="presParOf" srcId="{CD07666F-BFE3-445D-9DFB-6998EFD24A47}" destId="{BEAC344B-21E4-4708-ABC6-5EDB5BE7AE25}" srcOrd="0" destOrd="0" presId="urn:microsoft.com/office/officeart/2005/8/layout/hierarchy1"/>
    <dgm:cxn modelId="{6255DA73-BA1B-40D4-884F-0720D6FE9081}" type="presParOf" srcId="{BEAC344B-21E4-4708-ABC6-5EDB5BE7AE25}" destId="{9D364627-D8F6-4C57-A130-02BE214573D0}" srcOrd="0" destOrd="0" presId="urn:microsoft.com/office/officeart/2005/8/layout/hierarchy1"/>
    <dgm:cxn modelId="{084D8C94-26F3-4B41-8FB1-4F28937FAE0A}" type="presParOf" srcId="{9D364627-D8F6-4C57-A130-02BE214573D0}" destId="{17A74A57-CBFE-4C44-B03A-F8CE60235689}" srcOrd="0" destOrd="0" presId="urn:microsoft.com/office/officeart/2005/8/layout/hierarchy1"/>
    <dgm:cxn modelId="{F8D512FD-350F-406E-8476-B3FDFC730E7F}" type="presParOf" srcId="{9D364627-D8F6-4C57-A130-02BE214573D0}" destId="{44733E4B-7C2D-4058-8353-6E948F252C24}" srcOrd="1" destOrd="0" presId="urn:microsoft.com/office/officeart/2005/8/layout/hierarchy1"/>
    <dgm:cxn modelId="{671A0EE6-5F33-4441-A2F7-98EE69524809}" type="presParOf" srcId="{BEAC344B-21E4-4708-ABC6-5EDB5BE7AE25}" destId="{A3395D7F-25EC-4EF0-AAD5-9F6A0F7B985A}" srcOrd="1" destOrd="0" presId="urn:microsoft.com/office/officeart/2005/8/layout/hierarchy1"/>
    <dgm:cxn modelId="{A4DADBD7-2241-45BE-9A43-C46194D03DE7}" type="presParOf" srcId="{A3395D7F-25EC-4EF0-AAD5-9F6A0F7B985A}" destId="{4264A72B-7892-406E-A49A-63CDC7569D50}" srcOrd="0" destOrd="0" presId="urn:microsoft.com/office/officeart/2005/8/layout/hierarchy1"/>
    <dgm:cxn modelId="{9B294ACB-B47C-45D3-8B6C-0AEE6CFE5FB1}" type="presParOf" srcId="{A3395D7F-25EC-4EF0-AAD5-9F6A0F7B985A}" destId="{0E45CBBD-0CAA-4259-B3B6-CD827F60B1CE}" srcOrd="1" destOrd="0" presId="urn:microsoft.com/office/officeart/2005/8/layout/hierarchy1"/>
    <dgm:cxn modelId="{CD99EB38-06D0-447C-ADEC-631D89106BB1}" type="presParOf" srcId="{0E45CBBD-0CAA-4259-B3B6-CD827F60B1CE}" destId="{6AD0178D-2AE4-48C7-9D3D-FDDCF41D51BB}" srcOrd="0" destOrd="0" presId="urn:microsoft.com/office/officeart/2005/8/layout/hierarchy1"/>
    <dgm:cxn modelId="{6B531F0B-EEB7-42A8-8A38-712BEE915C2B}" type="presParOf" srcId="{6AD0178D-2AE4-48C7-9D3D-FDDCF41D51BB}" destId="{CD036402-BAF4-4BF5-99D6-C953E1643221}" srcOrd="0" destOrd="0" presId="urn:microsoft.com/office/officeart/2005/8/layout/hierarchy1"/>
    <dgm:cxn modelId="{D5999D26-AF61-4D20-9BFB-A6EF73679805}" type="presParOf" srcId="{6AD0178D-2AE4-48C7-9D3D-FDDCF41D51BB}" destId="{D7D90662-70D7-42DF-8CFB-07E04ABA4343}" srcOrd="1" destOrd="0" presId="urn:microsoft.com/office/officeart/2005/8/layout/hierarchy1"/>
    <dgm:cxn modelId="{0DF84D44-6A91-4507-B631-047DD683D984}" type="presParOf" srcId="{0E45CBBD-0CAA-4259-B3B6-CD827F60B1CE}" destId="{1E48E77E-8A00-408A-B02A-3ECF11EAAC14}" srcOrd="1" destOrd="0" presId="urn:microsoft.com/office/officeart/2005/8/layout/hierarchy1"/>
    <dgm:cxn modelId="{9B959CED-008B-4B29-B80E-855813E8FDE7}" type="presParOf" srcId="{1E48E77E-8A00-408A-B02A-3ECF11EAAC14}" destId="{F26B0F35-A618-49FB-A03C-DED279CBC885}" srcOrd="0" destOrd="0" presId="urn:microsoft.com/office/officeart/2005/8/layout/hierarchy1"/>
    <dgm:cxn modelId="{B18BAC1D-4F63-40B3-A6A7-4E6EEAB681E3}" type="presParOf" srcId="{1E48E77E-8A00-408A-B02A-3ECF11EAAC14}" destId="{082283DD-21D1-44F9-8994-E99A58650F9D}" srcOrd="1" destOrd="0" presId="urn:microsoft.com/office/officeart/2005/8/layout/hierarchy1"/>
    <dgm:cxn modelId="{68C6324F-FC21-48B5-A9AE-F555382DB006}" type="presParOf" srcId="{082283DD-21D1-44F9-8994-E99A58650F9D}" destId="{04A88E6E-AE16-410D-8A01-B3A5094544DC}" srcOrd="0" destOrd="0" presId="urn:microsoft.com/office/officeart/2005/8/layout/hierarchy1"/>
    <dgm:cxn modelId="{FE2C61FE-0A7B-4C12-9D69-5CD1BAA2943D}" type="presParOf" srcId="{04A88E6E-AE16-410D-8A01-B3A5094544DC}" destId="{51ED87DC-839D-49E8-96A1-C0383B9749B1}" srcOrd="0" destOrd="0" presId="urn:microsoft.com/office/officeart/2005/8/layout/hierarchy1"/>
    <dgm:cxn modelId="{B2A046D8-A9F7-49D8-A5D7-3C08D047F787}" type="presParOf" srcId="{04A88E6E-AE16-410D-8A01-B3A5094544DC}" destId="{9D1C8C12-3F2B-430D-B88C-F75758485507}" srcOrd="1" destOrd="0" presId="urn:microsoft.com/office/officeart/2005/8/layout/hierarchy1"/>
    <dgm:cxn modelId="{C65FF621-A5AD-481B-9F78-74C0258CAA2E}" type="presParOf" srcId="{082283DD-21D1-44F9-8994-E99A58650F9D}" destId="{D2DD992A-581E-45FC-BAFA-367480033CE0}" srcOrd="1" destOrd="0" presId="urn:microsoft.com/office/officeart/2005/8/layout/hierarchy1"/>
    <dgm:cxn modelId="{9A473990-5FFD-4EC7-B6C7-6D833EB608C4}" type="presParOf" srcId="{1E48E77E-8A00-408A-B02A-3ECF11EAAC14}" destId="{10C094C4-6C1C-4EA6-A1F6-EC745AF6419A}" srcOrd="2" destOrd="0" presId="urn:microsoft.com/office/officeart/2005/8/layout/hierarchy1"/>
    <dgm:cxn modelId="{D13D5FB9-C10B-42A3-9543-CD7C2F91C000}" type="presParOf" srcId="{1E48E77E-8A00-408A-B02A-3ECF11EAAC14}" destId="{B9A00E24-EA88-4ED8-BC31-FC2310BEFCC4}" srcOrd="3" destOrd="0" presId="urn:microsoft.com/office/officeart/2005/8/layout/hierarchy1"/>
    <dgm:cxn modelId="{3C860F04-D100-46CA-8FCF-D8E169AB4924}" type="presParOf" srcId="{B9A00E24-EA88-4ED8-BC31-FC2310BEFCC4}" destId="{4CCD7786-9160-4DD2-9BAA-421E3D5B7D0A}" srcOrd="0" destOrd="0" presId="urn:microsoft.com/office/officeart/2005/8/layout/hierarchy1"/>
    <dgm:cxn modelId="{951AA021-3812-4FC1-A40B-5535C44F5C11}" type="presParOf" srcId="{4CCD7786-9160-4DD2-9BAA-421E3D5B7D0A}" destId="{806F4A64-9AD6-4C9D-92A4-9C01E53CE772}" srcOrd="0" destOrd="0" presId="urn:microsoft.com/office/officeart/2005/8/layout/hierarchy1"/>
    <dgm:cxn modelId="{6BE6B6E1-5BA6-494C-A586-C25CCB34FDBE}" type="presParOf" srcId="{4CCD7786-9160-4DD2-9BAA-421E3D5B7D0A}" destId="{F43B1983-CBFE-4136-8038-DDBC6686DE3D}" srcOrd="1" destOrd="0" presId="urn:microsoft.com/office/officeart/2005/8/layout/hierarchy1"/>
    <dgm:cxn modelId="{6B91FCD1-5DF9-41F2-9ECA-5B74F8A354DE}" type="presParOf" srcId="{B9A00E24-EA88-4ED8-BC31-FC2310BEFCC4}" destId="{DD6186B5-BD5B-47FC-867E-F46DB30C2AE2}" srcOrd="1" destOrd="0" presId="urn:microsoft.com/office/officeart/2005/8/layout/hierarchy1"/>
    <dgm:cxn modelId="{8DAC48C5-72B4-D846-8D56-03BC760ECE9C}" type="presParOf" srcId="{1E48E77E-8A00-408A-B02A-3ECF11EAAC14}" destId="{FE195A57-F591-4348-8AA8-5BADF5A21DE1}" srcOrd="4" destOrd="0" presId="urn:microsoft.com/office/officeart/2005/8/layout/hierarchy1"/>
    <dgm:cxn modelId="{012470CF-0943-5D42-A342-A6DBFFC297D9}" type="presParOf" srcId="{1E48E77E-8A00-408A-B02A-3ECF11EAAC14}" destId="{D45A3254-F524-3A44-B504-4A3CB1BD7806}" srcOrd="5" destOrd="0" presId="urn:microsoft.com/office/officeart/2005/8/layout/hierarchy1"/>
    <dgm:cxn modelId="{46989A38-3AE3-6A4B-91D0-278C5FD069E5}" type="presParOf" srcId="{D45A3254-F524-3A44-B504-4A3CB1BD7806}" destId="{D93E5AAD-A8DF-1744-A740-0F11E8A9C83A}" srcOrd="0" destOrd="0" presId="urn:microsoft.com/office/officeart/2005/8/layout/hierarchy1"/>
    <dgm:cxn modelId="{F60B9109-877D-7A40-B0F5-6412C07A275E}" type="presParOf" srcId="{D93E5AAD-A8DF-1744-A740-0F11E8A9C83A}" destId="{37977D68-C129-A84D-81EA-C07884545E00}" srcOrd="0" destOrd="0" presId="urn:microsoft.com/office/officeart/2005/8/layout/hierarchy1"/>
    <dgm:cxn modelId="{3F0A0F18-43C4-8347-9906-2695192BA5D6}" type="presParOf" srcId="{D93E5AAD-A8DF-1744-A740-0F11E8A9C83A}" destId="{7B57CEA5-6EEF-6540-9831-36506FDC8AD7}" srcOrd="1" destOrd="0" presId="urn:microsoft.com/office/officeart/2005/8/layout/hierarchy1"/>
    <dgm:cxn modelId="{F0B6C215-5400-7F4B-BD1B-7BF0DC9C2144}" type="presParOf" srcId="{D45A3254-F524-3A44-B504-4A3CB1BD7806}" destId="{BD1C8FB4-C6B1-9247-9527-92D74386452A}" srcOrd="1" destOrd="0" presId="urn:microsoft.com/office/officeart/2005/8/layout/hierarchy1"/>
    <dgm:cxn modelId="{AEA5E5B2-C48D-1147-9467-8B1938B1EA97}" type="presParOf" srcId="{1E48E77E-8A00-408A-B02A-3ECF11EAAC14}" destId="{60B9FD50-9E40-B74E-83FB-A55CA2D4E3BB}" srcOrd="6" destOrd="0" presId="urn:microsoft.com/office/officeart/2005/8/layout/hierarchy1"/>
    <dgm:cxn modelId="{6A7A40DB-EF07-9746-846A-54AB61C0C1DE}" type="presParOf" srcId="{1E48E77E-8A00-408A-B02A-3ECF11EAAC14}" destId="{167E3450-A949-264B-81AD-9C6750830026}" srcOrd="7" destOrd="0" presId="urn:microsoft.com/office/officeart/2005/8/layout/hierarchy1"/>
    <dgm:cxn modelId="{A99E372E-6DB7-874A-97F8-BA3B402733B5}" type="presParOf" srcId="{167E3450-A949-264B-81AD-9C6750830026}" destId="{7DCA9964-BF48-1E48-93E7-754F788A94CD}" srcOrd="0" destOrd="0" presId="urn:microsoft.com/office/officeart/2005/8/layout/hierarchy1"/>
    <dgm:cxn modelId="{91ADDF51-4686-5F40-99B1-7B3E265C892C}" type="presParOf" srcId="{7DCA9964-BF48-1E48-93E7-754F788A94CD}" destId="{AB37C214-1C8C-7A4D-A1DD-AC4D55D399F1}" srcOrd="0" destOrd="0" presId="urn:microsoft.com/office/officeart/2005/8/layout/hierarchy1"/>
    <dgm:cxn modelId="{1B626307-FE4D-4E4D-97AA-6AAA1604E869}" type="presParOf" srcId="{7DCA9964-BF48-1E48-93E7-754F788A94CD}" destId="{F9E87796-DDDF-F149-A26B-4C0286E96593}" srcOrd="1" destOrd="0" presId="urn:microsoft.com/office/officeart/2005/8/layout/hierarchy1"/>
    <dgm:cxn modelId="{49CFC354-AE4D-5447-8990-4F6ABCCD4B5D}" type="presParOf" srcId="{167E3450-A949-264B-81AD-9C6750830026}" destId="{FCCD133B-9219-164D-AEF0-0FFAEA0D422F}" srcOrd="1" destOrd="0" presId="urn:microsoft.com/office/officeart/2005/8/layout/hierarchy1"/>
    <dgm:cxn modelId="{C1B7016D-C314-9940-A520-7B049DBCAF27}" type="presParOf" srcId="{1E48E77E-8A00-408A-B02A-3ECF11EAAC14}" destId="{A73EF77E-34C1-6642-B1BE-7CCAC9EB8C06}" srcOrd="8" destOrd="0" presId="urn:microsoft.com/office/officeart/2005/8/layout/hierarchy1"/>
    <dgm:cxn modelId="{2C1A9FA5-D05B-254A-A3EA-1C0BE44DDD68}" type="presParOf" srcId="{1E48E77E-8A00-408A-B02A-3ECF11EAAC14}" destId="{D09AE399-A28F-6248-828E-8AD17C5F02B4}" srcOrd="9" destOrd="0" presId="urn:microsoft.com/office/officeart/2005/8/layout/hierarchy1"/>
    <dgm:cxn modelId="{0D950F1C-EA76-D14A-9F5E-E74144047C27}" type="presParOf" srcId="{D09AE399-A28F-6248-828E-8AD17C5F02B4}" destId="{B9E52431-BEEF-B446-B7BB-F4C9017A81B3}" srcOrd="0" destOrd="0" presId="urn:microsoft.com/office/officeart/2005/8/layout/hierarchy1"/>
    <dgm:cxn modelId="{2B7D2CD3-F7A4-E348-A7F2-25FFDF51BA05}" type="presParOf" srcId="{B9E52431-BEEF-B446-B7BB-F4C9017A81B3}" destId="{FAE8DB2D-8BF4-7D4E-89B2-A3704A9B3C99}" srcOrd="0" destOrd="0" presId="urn:microsoft.com/office/officeart/2005/8/layout/hierarchy1"/>
    <dgm:cxn modelId="{B3C1A9D7-96E2-334C-BB56-023F19549162}" type="presParOf" srcId="{B9E52431-BEEF-B446-B7BB-F4C9017A81B3}" destId="{E5B0AADA-9559-9240-9C95-B9A20B7660D6}" srcOrd="1" destOrd="0" presId="urn:microsoft.com/office/officeart/2005/8/layout/hierarchy1"/>
    <dgm:cxn modelId="{BCC19BC7-8459-A949-A1E6-719305E6182E}" type="presParOf" srcId="{D09AE399-A28F-6248-828E-8AD17C5F02B4}" destId="{0702BB53-AC3D-C34B-BFCA-5BDCF8121DE1}" srcOrd="1" destOrd="0" presId="urn:microsoft.com/office/officeart/2005/8/layout/hierarchy1"/>
    <dgm:cxn modelId="{D084EED3-1698-FB47-A2C6-EFE03C338BAE}" type="presParOf" srcId="{A3395D7F-25EC-4EF0-AAD5-9F6A0F7B985A}" destId="{4AF12D1B-9492-5E49-9902-DC4BCA3B484F}" srcOrd="2" destOrd="0" presId="urn:microsoft.com/office/officeart/2005/8/layout/hierarchy1"/>
    <dgm:cxn modelId="{C32225F8-2CFE-704A-9427-E591354960EC}" type="presParOf" srcId="{A3395D7F-25EC-4EF0-AAD5-9F6A0F7B985A}" destId="{29F74A61-9232-1141-9C71-5AFD7F08B0E3}" srcOrd="3" destOrd="0" presId="urn:microsoft.com/office/officeart/2005/8/layout/hierarchy1"/>
    <dgm:cxn modelId="{380FF6AC-E94E-644B-9179-3B12CC14EB67}" type="presParOf" srcId="{29F74A61-9232-1141-9C71-5AFD7F08B0E3}" destId="{0170987F-4A8D-7E4E-B178-E34926A2B19A}" srcOrd="0" destOrd="0" presId="urn:microsoft.com/office/officeart/2005/8/layout/hierarchy1"/>
    <dgm:cxn modelId="{209C9A5B-0083-184D-BF4D-4FCE2015497A}" type="presParOf" srcId="{0170987F-4A8D-7E4E-B178-E34926A2B19A}" destId="{96E33C7A-40DC-A344-9530-B4BC06902BB4}" srcOrd="0" destOrd="0" presId="urn:microsoft.com/office/officeart/2005/8/layout/hierarchy1"/>
    <dgm:cxn modelId="{FAE7846C-300E-544B-BAFC-1D61C1906B00}" type="presParOf" srcId="{0170987F-4A8D-7E4E-B178-E34926A2B19A}" destId="{484FD509-A978-EC41-AE61-6FEB377DB022}" srcOrd="1" destOrd="0" presId="urn:microsoft.com/office/officeart/2005/8/layout/hierarchy1"/>
    <dgm:cxn modelId="{B1E30248-12F9-CF4A-B149-BB7230475809}" type="presParOf" srcId="{29F74A61-9232-1141-9C71-5AFD7F08B0E3}" destId="{1F3078A4-6C26-6A4A-8EC1-3B7E39D6B002}" srcOrd="1" destOrd="0" presId="urn:microsoft.com/office/officeart/2005/8/layout/hierarchy1"/>
    <dgm:cxn modelId="{08A0D5AF-611E-C742-88E9-709FE24A9F9F}" type="presParOf" srcId="{1F3078A4-6C26-6A4A-8EC1-3B7E39D6B002}" destId="{CA4C0976-A814-FC45-A984-C08D68046698}" srcOrd="0" destOrd="0" presId="urn:microsoft.com/office/officeart/2005/8/layout/hierarchy1"/>
    <dgm:cxn modelId="{978B80B7-61D7-104B-B374-A50C99931ABC}" type="presParOf" srcId="{1F3078A4-6C26-6A4A-8EC1-3B7E39D6B002}" destId="{6530E5E1-57AA-6846-ADBE-447FE64465AE}" srcOrd="1" destOrd="0" presId="urn:microsoft.com/office/officeart/2005/8/layout/hierarchy1"/>
    <dgm:cxn modelId="{B5BE2687-3BDF-9D42-B5A8-0CEE6605949C}" type="presParOf" srcId="{6530E5E1-57AA-6846-ADBE-447FE64465AE}" destId="{257E3C60-A415-B143-BAF7-880270EF6A1C}" srcOrd="0" destOrd="0" presId="urn:microsoft.com/office/officeart/2005/8/layout/hierarchy1"/>
    <dgm:cxn modelId="{52F36111-B05A-294D-84D5-96AB5314977D}" type="presParOf" srcId="{257E3C60-A415-B143-BAF7-880270EF6A1C}" destId="{EAC35EAF-721C-8145-919E-920419A7570C}" srcOrd="0" destOrd="0" presId="urn:microsoft.com/office/officeart/2005/8/layout/hierarchy1"/>
    <dgm:cxn modelId="{3031240B-DD11-0849-9F6D-A3370F282623}" type="presParOf" srcId="{257E3C60-A415-B143-BAF7-880270EF6A1C}" destId="{963DC135-7026-0E4C-87F6-6479B0085061}" srcOrd="1" destOrd="0" presId="urn:microsoft.com/office/officeart/2005/8/layout/hierarchy1"/>
    <dgm:cxn modelId="{DAD13CDB-5568-184A-B024-8D2F30D0FAEF}" type="presParOf" srcId="{6530E5E1-57AA-6846-ADBE-447FE64465AE}" destId="{2FFB87AE-FAD5-7645-94E6-144449342FA2}"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065978-5B85-4247-BEB4-02170958236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CA"/>
        </a:p>
      </dgm:t>
    </dgm:pt>
    <dgm:pt modelId="{F9DCF915-8F56-46A2-BAEB-BE0F7CF8E739}">
      <dgm:prSet phldrT="[Text]"/>
      <dgm:spPr/>
      <dgm:t>
        <a:bodyPr/>
        <a:lstStyle/>
        <a:p>
          <a:r>
            <a:rPr lang="en-CA" dirty="0"/>
            <a:t>Deep learning</a:t>
          </a:r>
        </a:p>
      </dgm:t>
    </dgm:pt>
    <dgm:pt modelId="{9BD68F7E-ADA9-49D2-B103-35A990FE02C7}" type="parTrans" cxnId="{DA346F26-6F7B-4D02-8C99-3479856811D6}">
      <dgm:prSet/>
      <dgm:spPr/>
      <dgm:t>
        <a:bodyPr/>
        <a:lstStyle/>
        <a:p>
          <a:endParaRPr lang="en-CA"/>
        </a:p>
      </dgm:t>
    </dgm:pt>
    <dgm:pt modelId="{DDF0D896-31B5-45C3-B77E-8A1694A70406}" type="sibTrans" cxnId="{DA346F26-6F7B-4D02-8C99-3479856811D6}">
      <dgm:prSet/>
      <dgm:spPr/>
      <dgm:t>
        <a:bodyPr/>
        <a:lstStyle/>
        <a:p>
          <a:endParaRPr lang="en-CA"/>
        </a:p>
      </dgm:t>
    </dgm:pt>
    <dgm:pt modelId="{F39E6ED0-B1AC-4DFD-8010-9C88CABB1EB5}">
      <dgm:prSet phldrT="[Text]"/>
      <dgm:spPr/>
      <dgm:t>
        <a:bodyPr/>
        <a:lstStyle/>
        <a:p>
          <a:r>
            <a:rPr lang="en-CA" dirty="0"/>
            <a:t>Convolutional </a:t>
          </a:r>
        </a:p>
      </dgm:t>
    </dgm:pt>
    <dgm:pt modelId="{6AD03E2D-684F-41D7-B9BC-7E1DE57EEF85}" type="parTrans" cxnId="{099F48B3-3D49-441B-9B74-41A3765FB18E}">
      <dgm:prSet/>
      <dgm:spPr/>
      <dgm:t>
        <a:bodyPr/>
        <a:lstStyle/>
        <a:p>
          <a:endParaRPr lang="en-CA"/>
        </a:p>
      </dgm:t>
    </dgm:pt>
    <dgm:pt modelId="{D20794FF-BA17-443F-B64B-8AEC78E822A0}" type="sibTrans" cxnId="{099F48B3-3D49-441B-9B74-41A3765FB18E}">
      <dgm:prSet/>
      <dgm:spPr/>
      <dgm:t>
        <a:bodyPr/>
        <a:lstStyle/>
        <a:p>
          <a:endParaRPr lang="en-CA"/>
        </a:p>
      </dgm:t>
    </dgm:pt>
    <dgm:pt modelId="{2F36E9A2-5BD6-4D33-AA96-08653341A6CA}">
      <dgm:prSet phldrT="[Text]"/>
      <dgm:spPr/>
      <dgm:t>
        <a:bodyPr/>
        <a:lstStyle/>
        <a:p>
          <a:r>
            <a:rPr lang="en-CA" dirty="0"/>
            <a:t>Generative adversarial </a:t>
          </a:r>
        </a:p>
      </dgm:t>
    </dgm:pt>
    <dgm:pt modelId="{9499DCD0-9AA9-47D7-AA3D-D5C11CB939AA}" type="parTrans" cxnId="{A8DC6B89-D3F1-42D2-A5DB-A0B2CA718F45}">
      <dgm:prSet/>
      <dgm:spPr/>
      <dgm:t>
        <a:bodyPr/>
        <a:lstStyle/>
        <a:p>
          <a:endParaRPr lang="en-CA"/>
        </a:p>
      </dgm:t>
    </dgm:pt>
    <dgm:pt modelId="{E10DA301-F6AC-443A-907D-57AFE2B8599D}" type="sibTrans" cxnId="{A8DC6B89-D3F1-42D2-A5DB-A0B2CA718F45}">
      <dgm:prSet/>
      <dgm:spPr/>
      <dgm:t>
        <a:bodyPr/>
        <a:lstStyle/>
        <a:p>
          <a:endParaRPr lang="en-CA"/>
        </a:p>
      </dgm:t>
    </dgm:pt>
    <dgm:pt modelId="{DF46D004-29C5-4EB8-9809-157A1050E049}">
      <dgm:prSet phldrT="[Text]"/>
      <dgm:spPr/>
      <dgm:t>
        <a:bodyPr/>
        <a:lstStyle/>
        <a:p>
          <a:r>
            <a:rPr lang="en-CA" dirty="0"/>
            <a:t>Recurrent</a:t>
          </a:r>
        </a:p>
      </dgm:t>
    </dgm:pt>
    <dgm:pt modelId="{212208A6-C6CC-447A-9A55-CDB56556C7E8}" type="parTrans" cxnId="{F5EAAF0F-F02C-46CA-9339-D3C08962A598}">
      <dgm:prSet/>
      <dgm:spPr/>
      <dgm:t>
        <a:bodyPr/>
        <a:lstStyle/>
        <a:p>
          <a:endParaRPr lang="en-CA"/>
        </a:p>
      </dgm:t>
    </dgm:pt>
    <dgm:pt modelId="{756A38BB-2E37-4D8F-A425-5C37658BC563}" type="sibTrans" cxnId="{F5EAAF0F-F02C-46CA-9339-D3C08962A598}">
      <dgm:prSet/>
      <dgm:spPr/>
      <dgm:t>
        <a:bodyPr/>
        <a:lstStyle/>
        <a:p>
          <a:endParaRPr lang="en-CA"/>
        </a:p>
      </dgm:t>
    </dgm:pt>
    <dgm:pt modelId="{EF29B7FE-D934-463A-A2C4-0F10D0BE7AAB}">
      <dgm:prSet phldrT="[Text]"/>
      <dgm:spPr/>
      <dgm:t>
        <a:bodyPr/>
        <a:lstStyle/>
        <a:p>
          <a:r>
            <a:rPr lang="en-CA" dirty="0"/>
            <a:t>Deep belief</a:t>
          </a:r>
        </a:p>
      </dgm:t>
    </dgm:pt>
    <dgm:pt modelId="{0D14C337-22B6-4DEA-8D25-3F1AA70E8AAE}" type="parTrans" cxnId="{B8FD6040-9BAC-40C2-9B5F-F2C2EE6DF7B0}">
      <dgm:prSet/>
      <dgm:spPr/>
      <dgm:t>
        <a:bodyPr/>
        <a:lstStyle/>
        <a:p>
          <a:endParaRPr lang="en-CA"/>
        </a:p>
      </dgm:t>
    </dgm:pt>
    <dgm:pt modelId="{6FACCBA1-7421-43B8-8258-94BB906B095A}" type="sibTrans" cxnId="{B8FD6040-9BAC-40C2-9B5F-F2C2EE6DF7B0}">
      <dgm:prSet/>
      <dgm:spPr/>
      <dgm:t>
        <a:bodyPr/>
        <a:lstStyle/>
        <a:p>
          <a:endParaRPr lang="en-CA"/>
        </a:p>
      </dgm:t>
    </dgm:pt>
    <dgm:pt modelId="{94F2F7DA-8546-4BC7-ADCB-F8D6D55F0988}">
      <dgm:prSet phldrT="[Text]"/>
      <dgm:spPr/>
      <dgm:t>
        <a:bodyPr/>
        <a:lstStyle/>
        <a:p>
          <a:r>
            <a:rPr lang="en-CA" dirty="0"/>
            <a:t>Deep Boltzmann </a:t>
          </a:r>
        </a:p>
      </dgm:t>
    </dgm:pt>
    <dgm:pt modelId="{979586E3-4FBF-46DC-9D3A-619C19670D9F}" type="parTrans" cxnId="{C9A941C5-F614-411A-9A13-C0C16A468D9B}">
      <dgm:prSet/>
      <dgm:spPr/>
      <dgm:t>
        <a:bodyPr/>
        <a:lstStyle/>
        <a:p>
          <a:endParaRPr lang="en-CA"/>
        </a:p>
      </dgm:t>
    </dgm:pt>
    <dgm:pt modelId="{BC3AF940-DFA9-404A-ADCD-05FE865FAE79}" type="sibTrans" cxnId="{C9A941C5-F614-411A-9A13-C0C16A468D9B}">
      <dgm:prSet/>
      <dgm:spPr/>
      <dgm:t>
        <a:bodyPr/>
        <a:lstStyle/>
        <a:p>
          <a:endParaRPr lang="en-CA"/>
        </a:p>
      </dgm:t>
    </dgm:pt>
    <dgm:pt modelId="{7B503A50-560D-4B3D-B01C-CDB26D19AC73}">
      <dgm:prSet phldrT="[Text]"/>
      <dgm:spPr/>
      <dgm:t>
        <a:bodyPr/>
        <a:lstStyle/>
        <a:p>
          <a:r>
            <a:rPr lang="en-CA" dirty="0"/>
            <a:t>LSTM</a:t>
          </a:r>
        </a:p>
      </dgm:t>
    </dgm:pt>
    <dgm:pt modelId="{6824881B-1C47-4536-902A-1F97CDCD22AC}" type="parTrans" cxnId="{CC1BF361-933F-45FF-B011-2BDE2155E469}">
      <dgm:prSet/>
      <dgm:spPr/>
      <dgm:t>
        <a:bodyPr/>
        <a:lstStyle/>
        <a:p>
          <a:endParaRPr lang="en-CA"/>
        </a:p>
      </dgm:t>
    </dgm:pt>
    <dgm:pt modelId="{6836DBE2-2902-4341-A565-776CB0DB9AC0}" type="sibTrans" cxnId="{CC1BF361-933F-45FF-B011-2BDE2155E469}">
      <dgm:prSet/>
      <dgm:spPr/>
      <dgm:t>
        <a:bodyPr/>
        <a:lstStyle/>
        <a:p>
          <a:endParaRPr lang="en-CA"/>
        </a:p>
      </dgm:t>
    </dgm:pt>
    <dgm:pt modelId="{59324A85-3140-46B6-8E0A-7AA27BA80CF2}">
      <dgm:prSet phldrT="[Text]"/>
      <dgm:spPr/>
      <dgm:t>
        <a:bodyPr/>
        <a:lstStyle/>
        <a:p>
          <a:r>
            <a:rPr lang="en-CA" dirty="0"/>
            <a:t>Bi-directional</a:t>
          </a:r>
        </a:p>
      </dgm:t>
    </dgm:pt>
    <dgm:pt modelId="{70BB56D0-7A88-4A42-A3AA-A52BE1AED078}" type="parTrans" cxnId="{2F6786A7-6955-4382-82BD-B38E827D5ADA}">
      <dgm:prSet/>
      <dgm:spPr/>
      <dgm:t>
        <a:bodyPr/>
        <a:lstStyle/>
        <a:p>
          <a:endParaRPr lang="en-CA"/>
        </a:p>
      </dgm:t>
    </dgm:pt>
    <dgm:pt modelId="{27A79FE8-41F5-49E8-8269-4148E9314C13}" type="sibTrans" cxnId="{2F6786A7-6955-4382-82BD-B38E827D5ADA}">
      <dgm:prSet/>
      <dgm:spPr/>
      <dgm:t>
        <a:bodyPr/>
        <a:lstStyle/>
        <a:p>
          <a:endParaRPr lang="en-CA"/>
        </a:p>
      </dgm:t>
    </dgm:pt>
    <dgm:pt modelId="{CDB169D8-4522-4816-BAEB-095B6E265C1A}">
      <dgm:prSet phldrT="[Text]"/>
      <dgm:spPr/>
      <dgm:t>
        <a:bodyPr/>
        <a:lstStyle/>
        <a:p>
          <a:r>
            <a:rPr lang="en-CA" dirty="0"/>
            <a:t>Autoencoders</a:t>
          </a:r>
        </a:p>
      </dgm:t>
    </dgm:pt>
    <dgm:pt modelId="{B0626998-79AE-495D-9699-F69CDBD46F22}" type="parTrans" cxnId="{B4516346-7EA9-47E6-99C9-A53DF39EC864}">
      <dgm:prSet/>
      <dgm:spPr/>
      <dgm:t>
        <a:bodyPr/>
        <a:lstStyle/>
        <a:p>
          <a:endParaRPr lang="en-CA"/>
        </a:p>
      </dgm:t>
    </dgm:pt>
    <dgm:pt modelId="{670CF787-9DAB-46AD-B69B-6FC60F9ECC39}" type="sibTrans" cxnId="{B4516346-7EA9-47E6-99C9-A53DF39EC864}">
      <dgm:prSet/>
      <dgm:spPr/>
      <dgm:t>
        <a:bodyPr/>
        <a:lstStyle/>
        <a:p>
          <a:endParaRPr lang="en-CA"/>
        </a:p>
      </dgm:t>
    </dgm:pt>
    <dgm:pt modelId="{0001CBF8-7012-4CF7-B7DB-2A476CB09519}">
      <dgm:prSet phldrT="[Text]"/>
      <dgm:spPr/>
      <dgm:t>
        <a:bodyPr/>
        <a:lstStyle/>
        <a:p>
          <a:r>
            <a:rPr lang="en-CA" dirty="0"/>
            <a:t>Representation learning</a:t>
          </a:r>
        </a:p>
      </dgm:t>
    </dgm:pt>
    <dgm:pt modelId="{292FFF11-6536-4200-9C5B-8F0CAB3F0A77}" type="parTrans" cxnId="{20C11DE7-2C0F-4D6E-9459-271540E92BCD}">
      <dgm:prSet/>
      <dgm:spPr/>
      <dgm:t>
        <a:bodyPr/>
        <a:lstStyle/>
        <a:p>
          <a:endParaRPr lang="en-CA"/>
        </a:p>
      </dgm:t>
    </dgm:pt>
    <dgm:pt modelId="{75C93277-5F6F-41A2-96BC-81C06DBF005D}" type="sibTrans" cxnId="{20C11DE7-2C0F-4D6E-9459-271540E92BCD}">
      <dgm:prSet/>
      <dgm:spPr/>
      <dgm:t>
        <a:bodyPr/>
        <a:lstStyle/>
        <a:p>
          <a:endParaRPr lang="en-CA"/>
        </a:p>
      </dgm:t>
    </dgm:pt>
    <dgm:pt modelId="{CD07666F-BFE3-445D-9DFB-6998EFD24A47}" type="pres">
      <dgm:prSet presAssocID="{AA065978-5B85-4247-BEB4-021709582366}" presName="hierChild1" presStyleCnt="0">
        <dgm:presLayoutVars>
          <dgm:chPref val="1"/>
          <dgm:dir/>
          <dgm:animOne val="branch"/>
          <dgm:animLvl val="lvl"/>
          <dgm:resizeHandles/>
        </dgm:presLayoutVars>
      </dgm:prSet>
      <dgm:spPr/>
    </dgm:pt>
    <dgm:pt modelId="{BEAC344B-21E4-4708-ABC6-5EDB5BE7AE25}" type="pres">
      <dgm:prSet presAssocID="{F9DCF915-8F56-46A2-BAEB-BE0F7CF8E739}" presName="hierRoot1" presStyleCnt="0"/>
      <dgm:spPr/>
    </dgm:pt>
    <dgm:pt modelId="{9D364627-D8F6-4C57-A130-02BE214573D0}" type="pres">
      <dgm:prSet presAssocID="{F9DCF915-8F56-46A2-BAEB-BE0F7CF8E739}" presName="composite" presStyleCnt="0"/>
      <dgm:spPr/>
    </dgm:pt>
    <dgm:pt modelId="{17A74A57-CBFE-4C44-B03A-F8CE60235689}" type="pres">
      <dgm:prSet presAssocID="{F9DCF915-8F56-46A2-BAEB-BE0F7CF8E739}" presName="background" presStyleLbl="node0" presStyleIdx="0" presStyleCnt="1"/>
      <dgm:spPr/>
    </dgm:pt>
    <dgm:pt modelId="{44733E4B-7C2D-4058-8353-6E948F252C24}" type="pres">
      <dgm:prSet presAssocID="{F9DCF915-8F56-46A2-BAEB-BE0F7CF8E739}" presName="text" presStyleLbl="fgAcc0" presStyleIdx="0" presStyleCnt="1">
        <dgm:presLayoutVars>
          <dgm:chPref val="3"/>
        </dgm:presLayoutVars>
      </dgm:prSet>
      <dgm:spPr/>
    </dgm:pt>
    <dgm:pt modelId="{A3395D7F-25EC-4EF0-AAD5-9F6A0F7B985A}" type="pres">
      <dgm:prSet presAssocID="{F9DCF915-8F56-46A2-BAEB-BE0F7CF8E739}" presName="hierChild2" presStyleCnt="0"/>
      <dgm:spPr/>
    </dgm:pt>
    <dgm:pt modelId="{AF466879-87D4-4853-81EF-0663E1A06FF8}" type="pres">
      <dgm:prSet presAssocID="{6AD03E2D-684F-41D7-B9BC-7E1DE57EEF85}" presName="Name10" presStyleLbl="parChTrans1D2" presStyleIdx="0" presStyleCnt="7"/>
      <dgm:spPr/>
    </dgm:pt>
    <dgm:pt modelId="{91A0CFAC-E757-434B-98D8-A97403990EE6}" type="pres">
      <dgm:prSet presAssocID="{F39E6ED0-B1AC-4DFD-8010-9C88CABB1EB5}" presName="hierRoot2" presStyleCnt="0"/>
      <dgm:spPr/>
    </dgm:pt>
    <dgm:pt modelId="{03786A0B-7E45-4822-A7AC-EE9B40742EC1}" type="pres">
      <dgm:prSet presAssocID="{F39E6ED0-B1AC-4DFD-8010-9C88CABB1EB5}" presName="composite2" presStyleCnt="0"/>
      <dgm:spPr/>
    </dgm:pt>
    <dgm:pt modelId="{5A5CB31D-D94F-499A-93BC-76E38105A4F3}" type="pres">
      <dgm:prSet presAssocID="{F39E6ED0-B1AC-4DFD-8010-9C88CABB1EB5}" presName="background2" presStyleLbl="node2" presStyleIdx="0" presStyleCnt="7"/>
      <dgm:spPr/>
    </dgm:pt>
    <dgm:pt modelId="{1D9AC33D-A649-475D-8783-E8384D47E8CE}" type="pres">
      <dgm:prSet presAssocID="{F39E6ED0-B1AC-4DFD-8010-9C88CABB1EB5}" presName="text2" presStyleLbl="fgAcc2" presStyleIdx="0" presStyleCnt="7">
        <dgm:presLayoutVars>
          <dgm:chPref val="3"/>
        </dgm:presLayoutVars>
      </dgm:prSet>
      <dgm:spPr/>
    </dgm:pt>
    <dgm:pt modelId="{1C9A9665-BEAF-4CF8-A0BA-01B3A671341B}" type="pres">
      <dgm:prSet presAssocID="{F39E6ED0-B1AC-4DFD-8010-9C88CABB1EB5}" presName="hierChild3" presStyleCnt="0"/>
      <dgm:spPr/>
    </dgm:pt>
    <dgm:pt modelId="{EF8C1D84-08CA-4801-88E6-8DCC2490B89E}" type="pres">
      <dgm:prSet presAssocID="{9499DCD0-9AA9-47D7-AA3D-D5C11CB939AA}" presName="Name10" presStyleLbl="parChTrans1D2" presStyleIdx="1" presStyleCnt="7"/>
      <dgm:spPr/>
    </dgm:pt>
    <dgm:pt modelId="{D59C18CE-0FB6-4053-BE9D-E9DB3A4F9609}" type="pres">
      <dgm:prSet presAssocID="{2F36E9A2-5BD6-4D33-AA96-08653341A6CA}" presName="hierRoot2" presStyleCnt="0"/>
      <dgm:spPr/>
    </dgm:pt>
    <dgm:pt modelId="{8A4DA9E4-6B9B-467E-9B9A-41CF035628FF}" type="pres">
      <dgm:prSet presAssocID="{2F36E9A2-5BD6-4D33-AA96-08653341A6CA}" presName="composite2" presStyleCnt="0"/>
      <dgm:spPr/>
    </dgm:pt>
    <dgm:pt modelId="{F8E6CA54-7C84-4BFD-95F3-37FC628298BF}" type="pres">
      <dgm:prSet presAssocID="{2F36E9A2-5BD6-4D33-AA96-08653341A6CA}" presName="background2" presStyleLbl="node2" presStyleIdx="1" presStyleCnt="7"/>
      <dgm:spPr/>
    </dgm:pt>
    <dgm:pt modelId="{8C905AA6-DE24-44A0-A3F5-B6E84DD50D8A}" type="pres">
      <dgm:prSet presAssocID="{2F36E9A2-5BD6-4D33-AA96-08653341A6CA}" presName="text2" presStyleLbl="fgAcc2" presStyleIdx="1" presStyleCnt="7">
        <dgm:presLayoutVars>
          <dgm:chPref val="3"/>
        </dgm:presLayoutVars>
      </dgm:prSet>
      <dgm:spPr/>
    </dgm:pt>
    <dgm:pt modelId="{DD5DA0F2-958D-4602-9728-E1E9530124FB}" type="pres">
      <dgm:prSet presAssocID="{2F36E9A2-5BD6-4D33-AA96-08653341A6CA}" presName="hierChild3" presStyleCnt="0"/>
      <dgm:spPr/>
    </dgm:pt>
    <dgm:pt modelId="{6BF25BC5-B7F2-4245-A522-5D0EEDEDCBE6}" type="pres">
      <dgm:prSet presAssocID="{212208A6-C6CC-447A-9A55-CDB56556C7E8}" presName="Name10" presStyleLbl="parChTrans1D2" presStyleIdx="2" presStyleCnt="7"/>
      <dgm:spPr/>
    </dgm:pt>
    <dgm:pt modelId="{EFF87124-D29F-40CB-B759-A7014C0CC174}" type="pres">
      <dgm:prSet presAssocID="{DF46D004-29C5-4EB8-9809-157A1050E049}" presName="hierRoot2" presStyleCnt="0"/>
      <dgm:spPr/>
    </dgm:pt>
    <dgm:pt modelId="{12886A22-DBBA-47CE-B560-65B985B3F003}" type="pres">
      <dgm:prSet presAssocID="{DF46D004-29C5-4EB8-9809-157A1050E049}" presName="composite2" presStyleCnt="0"/>
      <dgm:spPr/>
    </dgm:pt>
    <dgm:pt modelId="{A3A5C6E5-287B-426A-ADBC-E99138AAD59F}" type="pres">
      <dgm:prSet presAssocID="{DF46D004-29C5-4EB8-9809-157A1050E049}" presName="background2" presStyleLbl="node2" presStyleIdx="2" presStyleCnt="7"/>
      <dgm:spPr/>
    </dgm:pt>
    <dgm:pt modelId="{B363E626-0075-4947-8670-AE40D05931B6}" type="pres">
      <dgm:prSet presAssocID="{DF46D004-29C5-4EB8-9809-157A1050E049}" presName="text2" presStyleLbl="fgAcc2" presStyleIdx="2" presStyleCnt="7">
        <dgm:presLayoutVars>
          <dgm:chPref val="3"/>
        </dgm:presLayoutVars>
      </dgm:prSet>
      <dgm:spPr/>
    </dgm:pt>
    <dgm:pt modelId="{748BFDB7-5874-4CC9-9727-34F7D1AB9607}" type="pres">
      <dgm:prSet presAssocID="{DF46D004-29C5-4EB8-9809-157A1050E049}" presName="hierChild3" presStyleCnt="0"/>
      <dgm:spPr/>
    </dgm:pt>
    <dgm:pt modelId="{336B2AB3-9300-40CB-B6E2-9391590982EA}" type="pres">
      <dgm:prSet presAssocID="{6824881B-1C47-4536-902A-1F97CDCD22AC}" presName="Name17" presStyleLbl="parChTrans1D3" presStyleIdx="0" presStyleCnt="2"/>
      <dgm:spPr/>
    </dgm:pt>
    <dgm:pt modelId="{ABB2E731-3387-4F7B-95DE-0AB5E88F95BA}" type="pres">
      <dgm:prSet presAssocID="{7B503A50-560D-4B3D-B01C-CDB26D19AC73}" presName="hierRoot3" presStyleCnt="0"/>
      <dgm:spPr/>
    </dgm:pt>
    <dgm:pt modelId="{D9C41FA8-F127-42EA-A6A9-0611639A2EB7}" type="pres">
      <dgm:prSet presAssocID="{7B503A50-560D-4B3D-B01C-CDB26D19AC73}" presName="composite3" presStyleCnt="0"/>
      <dgm:spPr/>
    </dgm:pt>
    <dgm:pt modelId="{906C8E01-D89F-47D4-BEEC-4831EC6C26FA}" type="pres">
      <dgm:prSet presAssocID="{7B503A50-560D-4B3D-B01C-CDB26D19AC73}" presName="background3" presStyleLbl="node3" presStyleIdx="0" presStyleCnt="2"/>
      <dgm:spPr/>
    </dgm:pt>
    <dgm:pt modelId="{35EC9386-7673-42AB-8452-1FB44D116ADB}" type="pres">
      <dgm:prSet presAssocID="{7B503A50-560D-4B3D-B01C-CDB26D19AC73}" presName="text3" presStyleLbl="fgAcc3" presStyleIdx="0" presStyleCnt="2">
        <dgm:presLayoutVars>
          <dgm:chPref val="3"/>
        </dgm:presLayoutVars>
      </dgm:prSet>
      <dgm:spPr/>
    </dgm:pt>
    <dgm:pt modelId="{C683886A-E3A6-4545-AABF-D7C45A3E5FED}" type="pres">
      <dgm:prSet presAssocID="{7B503A50-560D-4B3D-B01C-CDB26D19AC73}" presName="hierChild4" presStyleCnt="0"/>
      <dgm:spPr/>
    </dgm:pt>
    <dgm:pt modelId="{75D8D4A3-859B-4811-8B95-08685ABDB1D9}" type="pres">
      <dgm:prSet presAssocID="{70BB56D0-7A88-4A42-A3AA-A52BE1AED078}" presName="Name17" presStyleLbl="parChTrans1D3" presStyleIdx="1" presStyleCnt="2"/>
      <dgm:spPr/>
    </dgm:pt>
    <dgm:pt modelId="{97784062-21A0-482B-A89D-1AD5D5359EFA}" type="pres">
      <dgm:prSet presAssocID="{59324A85-3140-46B6-8E0A-7AA27BA80CF2}" presName="hierRoot3" presStyleCnt="0"/>
      <dgm:spPr/>
    </dgm:pt>
    <dgm:pt modelId="{6C7D3D30-7F32-4EFB-AB93-3F396908E5E8}" type="pres">
      <dgm:prSet presAssocID="{59324A85-3140-46B6-8E0A-7AA27BA80CF2}" presName="composite3" presStyleCnt="0"/>
      <dgm:spPr/>
    </dgm:pt>
    <dgm:pt modelId="{208E92D7-EFDA-4E7C-A677-C4C7E80C4562}" type="pres">
      <dgm:prSet presAssocID="{59324A85-3140-46B6-8E0A-7AA27BA80CF2}" presName="background3" presStyleLbl="node3" presStyleIdx="1" presStyleCnt="2"/>
      <dgm:spPr/>
    </dgm:pt>
    <dgm:pt modelId="{A2CFBF57-8D35-4B4D-A32D-B5E3268BC63F}" type="pres">
      <dgm:prSet presAssocID="{59324A85-3140-46B6-8E0A-7AA27BA80CF2}" presName="text3" presStyleLbl="fgAcc3" presStyleIdx="1" presStyleCnt="2">
        <dgm:presLayoutVars>
          <dgm:chPref val="3"/>
        </dgm:presLayoutVars>
      </dgm:prSet>
      <dgm:spPr/>
    </dgm:pt>
    <dgm:pt modelId="{20557FCD-9868-4FE3-9B34-C1AB9866EDD0}" type="pres">
      <dgm:prSet presAssocID="{59324A85-3140-46B6-8E0A-7AA27BA80CF2}" presName="hierChild4" presStyleCnt="0"/>
      <dgm:spPr/>
    </dgm:pt>
    <dgm:pt modelId="{A711383D-DE19-4346-82BB-15A4221F9962}" type="pres">
      <dgm:prSet presAssocID="{0D14C337-22B6-4DEA-8D25-3F1AA70E8AAE}" presName="Name10" presStyleLbl="parChTrans1D2" presStyleIdx="3" presStyleCnt="7"/>
      <dgm:spPr/>
    </dgm:pt>
    <dgm:pt modelId="{A7CE0218-EFDB-40F6-AB4E-F329FD4BA21F}" type="pres">
      <dgm:prSet presAssocID="{EF29B7FE-D934-463A-A2C4-0F10D0BE7AAB}" presName="hierRoot2" presStyleCnt="0"/>
      <dgm:spPr/>
    </dgm:pt>
    <dgm:pt modelId="{FE04C198-BF77-4D6D-97CC-B0FEB7FE7E8A}" type="pres">
      <dgm:prSet presAssocID="{EF29B7FE-D934-463A-A2C4-0F10D0BE7AAB}" presName="composite2" presStyleCnt="0"/>
      <dgm:spPr/>
    </dgm:pt>
    <dgm:pt modelId="{88CF22B0-7529-43C3-BA96-951687FC10D1}" type="pres">
      <dgm:prSet presAssocID="{EF29B7FE-D934-463A-A2C4-0F10D0BE7AAB}" presName="background2" presStyleLbl="node2" presStyleIdx="3" presStyleCnt="7"/>
      <dgm:spPr/>
    </dgm:pt>
    <dgm:pt modelId="{58F9629E-6907-4921-9124-B0289C66B2B0}" type="pres">
      <dgm:prSet presAssocID="{EF29B7FE-D934-463A-A2C4-0F10D0BE7AAB}" presName="text2" presStyleLbl="fgAcc2" presStyleIdx="3" presStyleCnt="7">
        <dgm:presLayoutVars>
          <dgm:chPref val="3"/>
        </dgm:presLayoutVars>
      </dgm:prSet>
      <dgm:spPr/>
    </dgm:pt>
    <dgm:pt modelId="{9E31F4D0-DD59-48C2-B825-3D3E65294179}" type="pres">
      <dgm:prSet presAssocID="{EF29B7FE-D934-463A-A2C4-0F10D0BE7AAB}" presName="hierChild3" presStyleCnt="0"/>
      <dgm:spPr/>
    </dgm:pt>
    <dgm:pt modelId="{3A27BC0E-C99D-4DF2-8CE3-515F78169738}" type="pres">
      <dgm:prSet presAssocID="{979586E3-4FBF-46DC-9D3A-619C19670D9F}" presName="Name10" presStyleLbl="parChTrans1D2" presStyleIdx="4" presStyleCnt="7"/>
      <dgm:spPr/>
    </dgm:pt>
    <dgm:pt modelId="{D1694A1A-3861-459E-81E4-CD98AD360E31}" type="pres">
      <dgm:prSet presAssocID="{94F2F7DA-8546-4BC7-ADCB-F8D6D55F0988}" presName="hierRoot2" presStyleCnt="0"/>
      <dgm:spPr/>
    </dgm:pt>
    <dgm:pt modelId="{F108E124-B957-4B92-A0B6-11FFF5CBD460}" type="pres">
      <dgm:prSet presAssocID="{94F2F7DA-8546-4BC7-ADCB-F8D6D55F0988}" presName="composite2" presStyleCnt="0"/>
      <dgm:spPr/>
    </dgm:pt>
    <dgm:pt modelId="{253608AE-D444-41E3-ABB8-CF5E2398A556}" type="pres">
      <dgm:prSet presAssocID="{94F2F7DA-8546-4BC7-ADCB-F8D6D55F0988}" presName="background2" presStyleLbl="node2" presStyleIdx="4" presStyleCnt="7"/>
      <dgm:spPr/>
    </dgm:pt>
    <dgm:pt modelId="{BB3152DC-D874-4B4E-BEDF-57DDBE877DEB}" type="pres">
      <dgm:prSet presAssocID="{94F2F7DA-8546-4BC7-ADCB-F8D6D55F0988}" presName="text2" presStyleLbl="fgAcc2" presStyleIdx="4" presStyleCnt="7">
        <dgm:presLayoutVars>
          <dgm:chPref val="3"/>
        </dgm:presLayoutVars>
      </dgm:prSet>
      <dgm:spPr/>
    </dgm:pt>
    <dgm:pt modelId="{ABCC7FEC-81EF-4705-9717-42F2CBE6A86A}" type="pres">
      <dgm:prSet presAssocID="{94F2F7DA-8546-4BC7-ADCB-F8D6D55F0988}" presName="hierChild3" presStyleCnt="0"/>
      <dgm:spPr/>
    </dgm:pt>
    <dgm:pt modelId="{43157244-FE89-43AD-B279-813636222B51}" type="pres">
      <dgm:prSet presAssocID="{B0626998-79AE-495D-9699-F69CDBD46F22}" presName="Name10" presStyleLbl="parChTrans1D2" presStyleIdx="5" presStyleCnt="7"/>
      <dgm:spPr/>
    </dgm:pt>
    <dgm:pt modelId="{A9A14560-A3C5-44E7-B7FF-85AFA4B1C9A3}" type="pres">
      <dgm:prSet presAssocID="{CDB169D8-4522-4816-BAEB-095B6E265C1A}" presName="hierRoot2" presStyleCnt="0"/>
      <dgm:spPr/>
    </dgm:pt>
    <dgm:pt modelId="{4D04ED15-3964-4194-AE82-6BE8C1E5D12C}" type="pres">
      <dgm:prSet presAssocID="{CDB169D8-4522-4816-BAEB-095B6E265C1A}" presName="composite2" presStyleCnt="0"/>
      <dgm:spPr/>
    </dgm:pt>
    <dgm:pt modelId="{C7FED918-BFF2-4714-9941-F1CB49E17A87}" type="pres">
      <dgm:prSet presAssocID="{CDB169D8-4522-4816-BAEB-095B6E265C1A}" presName="background2" presStyleLbl="node2" presStyleIdx="5" presStyleCnt="7"/>
      <dgm:spPr/>
    </dgm:pt>
    <dgm:pt modelId="{FB88E6BB-C782-4A0F-AD73-E7C5F366E902}" type="pres">
      <dgm:prSet presAssocID="{CDB169D8-4522-4816-BAEB-095B6E265C1A}" presName="text2" presStyleLbl="fgAcc2" presStyleIdx="5" presStyleCnt="7">
        <dgm:presLayoutVars>
          <dgm:chPref val="3"/>
        </dgm:presLayoutVars>
      </dgm:prSet>
      <dgm:spPr/>
    </dgm:pt>
    <dgm:pt modelId="{546C66B9-3FC0-42B2-8850-910DA13F1410}" type="pres">
      <dgm:prSet presAssocID="{CDB169D8-4522-4816-BAEB-095B6E265C1A}" presName="hierChild3" presStyleCnt="0"/>
      <dgm:spPr/>
    </dgm:pt>
    <dgm:pt modelId="{58754D45-479D-4258-869B-BFEE3571DE91}" type="pres">
      <dgm:prSet presAssocID="{292FFF11-6536-4200-9C5B-8F0CAB3F0A77}" presName="Name10" presStyleLbl="parChTrans1D2" presStyleIdx="6" presStyleCnt="7"/>
      <dgm:spPr/>
    </dgm:pt>
    <dgm:pt modelId="{3A51442D-5192-4762-8DA5-1A6887E51725}" type="pres">
      <dgm:prSet presAssocID="{0001CBF8-7012-4CF7-B7DB-2A476CB09519}" presName="hierRoot2" presStyleCnt="0"/>
      <dgm:spPr/>
    </dgm:pt>
    <dgm:pt modelId="{1E2D0D9C-5833-42C5-8AB4-95026CDBF4BC}" type="pres">
      <dgm:prSet presAssocID="{0001CBF8-7012-4CF7-B7DB-2A476CB09519}" presName="composite2" presStyleCnt="0"/>
      <dgm:spPr/>
    </dgm:pt>
    <dgm:pt modelId="{C1FDB298-18F8-485D-8507-F7C5662AD803}" type="pres">
      <dgm:prSet presAssocID="{0001CBF8-7012-4CF7-B7DB-2A476CB09519}" presName="background2" presStyleLbl="node2" presStyleIdx="6" presStyleCnt="7"/>
      <dgm:spPr/>
    </dgm:pt>
    <dgm:pt modelId="{B2BADAF8-9DAA-4ABD-ABDB-6BAC74D2E2A4}" type="pres">
      <dgm:prSet presAssocID="{0001CBF8-7012-4CF7-B7DB-2A476CB09519}" presName="text2" presStyleLbl="fgAcc2" presStyleIdx="6" presStyleCnt="7">
        <dgm:presLayoutVars>
          <dgm:chPref val="3"/>
        </dgm:presLayoutVars>
      </dgm:prSet>
      <dgm:spPr/>
    </dgm:pt>
    <dgm:pt modelId="{16050362-0090-4E94-BD3E-3D61B1153A4D}" type="pres">
      <dgm:prSet presAssocID="{0001CBF8-7012-4CF7-B7DB-2A476CB09519}" presName="hierChild3" presStyleCnt="0"/>
      <dgm:spPr/>
    </dgm:pt>
  </dgm:ptLst>
  <dgm:cxnLst>
    <dgm:cxn modelId="{BE976803-3F57-4C1C-BDF7-036CEBC771E4}" type="presOf" srcId="{CDB169D8-4522-4816-BAEB-095B6E265C1A}" destId="{FB88E6BB-C782-4A0F-AD73-E7C5F366E902}" srcOrd="0" destOrd="0" presId="urn:microsoft.com/office/officeart/2005/8/layout/hierarchy1"/>
    <dgm:cxn modelId="{47C85E0C-E926-47FB-961D-4AE986A164D4}" type="presOf" srcId="{B0626998-79AE-495D-9699-F69CDBD46F22}" destId="{43157244-FE89-43AD-B279-813636222B51}" srcOrd="0" destOrd="0" presId="urn:microsoft.com/office/officeart/2005/8/layout/hierarchy1"/>
    <dgm:cxn modelId="{3961940E-AE94-46C6-831D-A1818CE6C5AB}" type="presOf" srcId="{F39E6ED0-B1AC-4DFD-8010-9C88CABB1EB5}" destId="{1D9AC33D-A649-475D-8783-E8384D47E8CE}" srcOrd="0" destOrd="0" presId="urn:microsoft.com/office/officeart/2005/8/layout/hierarchy1"/>
    <dgm:cxn modelId="{F5EAAF0F-F02C-46CA-9339-D3C08962A598}" srcId="{F9DCF915-8F56-46A2-BAEB-BE0F7CF8E739}" destId="{DF46D004-29C5-4EB8-9809-157A1050E049}" srcOrd="2" destOrd="0" parTransId="{212208A6-C6CC-447A-9A55-CDB56556C7E8}" sibTransId="{756A38BB-2E37-4D8F-A425-5C37658BC563}"/>
    <dgm:cxn modelId="{C3DCB012-17AA-45AC-8BD7-0AEA2D7A1240}" type="presOf" srcId="{292FFF11-6536-4200-9C5B-8F0CAB3F0A77}" destId="{58754D45-479D-4258-869B-BFEE3571DE91}" srcOrd="0" destOrd="0" presId="urn:microsoft.com/office/officeart/2005/8/layout/hierarchy1"/>
    <dgm:cxn modelId="{1F62971B-E293-453E-9860-8CC72F5A13A2}" type="presOf" srcId="{94F2F7DA-8546-4BC7-ADCB-F8D6D55F0988}" destId="{BB3152DC-D874-4B4E-BEDF-57DDBE877DEB}" srcOrd="0" destOrd="0" presId="urn:microsoft.com/office/officeart/2005/8/layout/hierarchy1"/>
    <dgm:cxn modelId="{DA346F26-6F7B-4D02-8C99-3479856811D6}" srcId="{AA065978-5B85-4247-BEB4-021709582366}" destId="{F9DCF915-8F56-46A2-BAEB-BE0F7CF8E739}" srcOrd="0" destOrd="0" parTransId="{9BD68F7E-ADA9-49D2-B103-35A990FE02C7}" sibTransId="{DDF0D896-31B5-45C3-B77E-8A1694A70406}"/>
    <dgm:cxn modelId="{B8FD6040-9BAC-40C2-9B5F-F2C2EE6DF7B0}" srcId="{F9DCF915-8F56-46A2-BAEB-BE0F7CF8E739}" destId="{EF29B7FE-D934-463A-A2C4-0F10D0BE7AAB}" srcOrd="3" destOrd="0" parTransId="{0D14C337-22B6-4DEA-8D25-3F1AA70E8AAE}" sibTransId="{6FACCBA1-7421-43B8-8258-94BB906B095A}"/>
    <dgm:cxn modelId="{64F6DD42-06F2-4A48-8EF5-4FD07B75DFF2}" type="presOf" srcId="{0D14C337-22B6-4DEA-8D25-3F1AA70E8AAE}" destId="{A711383D-DE19-4346-82BB-15A4221F9962}" srcOrd="0" destOrd="0" presId="urn:microsoft.com/office/officeart/2005/8/layout/hierarchy1"/>
    <dgm:cxn modelId="{B4516346-7EA9-47E6-99C9-A53DF39EC864}" srcId="{F9DCF915-8F56-46A2-BAEB-BE0F7CF8E739}" destId="{CDB169D8-4522-4816-BAEB-095B6E265C1A}" srcOrd="5" destOrd="0" parTransId="{B0626998-79AE-495D-9699-F69CDBD46F22}" sibTransId="{670CF787-9DAB-46AD-B69B-6FC60F9ECC39}"/>
    <dgm:cxn modelId="{B1DAEC53-08AC-4650-844A-52FD6CC44102}" type="presOf" srcId="{AA065978-5B85-4247-BEB4-021709582366}" destId="{CD07666F-BFE3-445D-9DFB-6998EFD24A47}" srcOrd="0" destOrd="0" presId="urn:microsoft.com/office/officeart/2005/8/layout/hierarchy1"/>
    <dgm:cxn modelId="{CC1BF361-933F-45FF-B011-2BDE2155E469}" srcId="{DF46D004-29C5-4EB8-9809-157A1050E049}" destId="{7B503A50-560D-4B3D-B01C-CDB26D19AC73}" srcOrd="0" destOrd="0" parTransId="{6824881B-1C47-4536-902A-1F97CDCD22AC}" sibTransId="{6836DBE2-2902-4341-A565-776CB0DB9AC0}"/>
    <dgm:cxn modelId="{00375963-6F0D-466A-99F9-25F12A69EEB1}" type="presOf" srcId="{0001CBF8-7012-4CF7-B7DB-2A476CB09519}" destId="{B2BADAF8-9DAA-4ABD-ABDB-6BAC74D2E2A4}" srcOrd="0" destOrd="0" presId="urn:microsoft.com/office/officeart/2005/8/layout/hierarchy1"/>
    <dgm:cxn modelId="{A8DC6B89-D3F1-42D2-A5DB-A0B2CA718F45}" srcId="{F9DCF915-8F56-46A2-BAEB-BE0F7CF8E739}" destId="{2F36E9A2-5BD6-4D33-AA96-08653341A6CA}" srcOrd="1" destOrd="0" parTransId="{9499DCD0-9AA9-47D7-AA3D-D5C11CB939AA}" sibTransId="{E10DA301-F6AC-443A-907D-57AFE2B8599D}"/>
    <dgm:cxn modelId="{2E719193-821E-4559-87F6-A9929CA7744F}" type="presOf" srcId="{DF46D004-29C5-4EB8-9809-157A1050E049}" destId="{B363E626-0075-4947-8670-AE40D05931B6}" srcOrd="0" destOrd="0" presId="urn:microsoft.com/office/officeart/2005/8/layout/hierarchy1"/>
    <dgm:cxn modelId="{5C40339A-20C1-432B-9103-846C4C026E7E}" type="presOf" srcId="{212208A6-C6CC-447A-9A55-CDB56556C7E8}" destId="{6BF25BC5-B7F2-4245-A522-5D0EEDEDCBE6}" srcOrd="0" destOrd="0" presId="urn:microsoft.com/office/officeart/2005/8/layout/hierarchy1"/>
    <dgm:cxn modelId="{385153A2-A63C-4728-B62F-A4EC67CF3CD7}" type="presOf" srcId="{6AD03E2D-684F-41D7-B9BC-7E1DE57EEF85}" destId="{AF466879-87D4-4853-81EF-0663E1A06FF8}" srcOrd="0" destOrd="0" presId="urn:microsoft.com/office/officeart/2005/8/layout/hierarchy1"/>
    <dgm:cxn modelId="{2F6786A7-6955-4382-82BD-B38E827D5ADA}" srcId="{DF46D004-29C5-4EB8-9809-157A1050E049}" destId="{59324A85-3140-46B6-8E0A-7AA27BA80CF2}" srcOrd="1" destOrd="0" parTransId="{70BB56D0-7A88-4A42-A3AA-A52BE1AED078}" sibTransId="{27A79FE8-41F5-49E8-8269-4148E9314C13}"/>
    <dgm:cxn modelId="{099F48B3-3D49-441B-9B74-41A3765FB18E}" srcId="{F9DCF915-8F56-46A2-BAEB-BE0F7CF8E739}" destId="{F39E6ED0-B1AC-4DFD-8010-9C88CABB1EB5}" srcOrd="0" destOrd="0" parTransId="{6AD03E2D-684F-41D7-B9BC-7E1DE57EEF85}" sibTransId="{D20794FF-BA17-443F-B64B-8AEC78E822A0}"/>
    <dgm:cxn modelId="{3ACF64BA-8F6A-4115-96B1-E0106BDA8F9D}" type="presOf" srcId="{6824881B-1C47-4536-902A-1F97CDCD22AC}" destId="{336B2AB3-9300-40CB-B6E2-9391590982EA}" srcOrd="0" destOrd="0" presId="urn:microsoft.com/office/officeart/2005/8/layout/hierarchy1"/>
    <dgm:cxn modelId="{1DDF00BE-1DAE-4BE3-86D6-466AE95F2FEB}" type="presOf" srcId="{F9DCF915-8F56-46A2-BAEB-BE0F7CF8E739}" destId="{44733E4B-7C2D-4058-8353-6E948F252C24}" srcOrd="0" destOrd="0" presId="urn:microsoft.com/office/officeart/2005/8/layout/hierarchy1"/>
    <dgm:cxn modelId="{C9A941C5-F614-411A-9A13-C0C16A468D9B}" srcId="{F9DCF915-8F56-46A2-BAEB-BE0F7CF8E739}" destId="{94F2F7DA-8546-4BC7-ADCB-F8D6D55F0988}" srcOrd="4" destOrd="0" parTransId="{979586E3-4FBF-46DC-9D3A-619C19670D9F}" sibTransId="{BC3AF940-DFA9-404A-ADCD-05FE865FAE79}"/>
    <dgm:cxn modelId="{068604CF-3437-441E-8D26-999C7A4B3CE4}" type="presOf" srcId="{70BB56D0-7A88-4A42-A3AA-A52BE1AED078}" destId="{75D8D4A3-859B-4811-8B95-08685ABDB1D9}" srcOrd="0" destOrd="0" presId="urn:microsoft.com/office/officeart/2005/8/layout/hierarchy1"/>
    <dgm:cxn modelId="{CB4517DD-7A28-423E-AA49-924C776D5C44}" type="presOf" srcId="{EF29B7FE-D934-463A-A2C4-0F10D0BE7AAB}" destId="{58F9629E-6907-4921-9124-B0289C66B2B0}" srcOrd="0" destOrd="0" presId="urn:microsoft.com/office/officeart/2005/8/layout/hierarchy1"/>
    <dgm:cxn modelId="{C632BDDE-DF80-4C34-9FFF-507CE17247A6}" type="presOf" srcId="{9499DCD0-9AA9-47D7-AA3D-D5C11CB939AA}" destId="{EF8C1D84-08CA-4801-88E6-8DCC2490B89E}" srcOrd="0" destOrd="0" presId="urn:microsoft.com/office/officeart/2005/8/layout/hierarchy1"/>
    <dgm:cxn modelId="{8AD538E0-8104-42B6-8FF3-BB1A069D9C05}" type="presOf" srcId="{7B503A50-560D-4B3D-B01C-CDB26D19AC73}" destId="{35EC9386-7673-42AB-8452-1FB44D116ADB}" srcOrd="0" destOrd="0" presId="urn:microsoft.com/office/officeart/2005/8/layout/hierarchy1"/>
    <dgm:cxn modelId="{9F737FE6-C967-49A1-9472-287CBC01B6DC}" type="presOf" srcId="{59324A85-3140-46B6-8E0A-7AA27BA80CF2}" destId="{A2CFBF57-8D35-4B4D-A32D-B5E3268BC63F}" srcOrd="0" destOrd="0" presId="urn:microsoft.com/office/officeart/2005/8/layout/hierarchy1"/>
    <dgm:cxn modelId="{20C11DE7-2C0F-4D6E-9459-271540E92BCD}" srcId="{F9DCF915-8F56-46A2-BAEB-BE0F7CF8E739}" destId="{0001CBF8-7012-4CF7-B7DB-2A476CB09519}" srcOrd="6" destOrd="0" parTransId="{292FFF11-6536-4200-9C5B-8F0CAB3F0A77}" sibTransId="{75C93277-5F6F-41A2-96BC-81C06DBF005D}"/>
    <dgm:cxn modelId="{940E4FE9-7FF3-4762-96BC-F2F732A5ABCE}" type="presOf" srcId="{979586E3-4FBF-46DC-9D3A-619C19670D9F}" destId="{3A27BC0E-C99D-4DF2-8CE3-515F78169738}" srcOrd="0" destOrd="0" presId="urn:microsoft.com/office/officeart/2005/8/layout/hierarchy1"/>
    <dgm:cxn modelId="{41EF26FF-3422-4CBC-A7CF-3FA6AE4BA07E}" type="presOf" srcId="{2F36E9A2-5BD6-4D33-AA96-08653341A6CA}" destId="{8C905AA6-DE24-44A0-A3F5-B6E84DD50D8A}" srcOrd="0" destOrd="0" presId="urn:microsoft.com/office/officeart/2005/8/layout/hierarchy1"/>
    <dgm:cxn modelId="{5128698E-5283-4AC5-BF5D-1DFBA31E01D7}" type="presParOf" srcId="{CD07666F-BFE3-445D-9DFB-6998EFD24A47}" destId="{BEAC344B-21E4-4708-ABC6-5EDB5BE7AE25}" srcOrd="0" destOrd="0" presId="urn:microsoft.com/office/officeart/2005/8/layout/hierarchy1"/>
    <dgm:cxn modelId="{6255DA73-BA1B-40D4-884F-0720D6FE9081}" type="presParOf" srcId="{BEAC344B-21E4-4708-ABC6-5EDB5BE7AE25}" destId="{9D364627-D8F6-4C57-A130-02BE214573D0}" srcOrd="0" destOrd="0" presId="urn:microsoft.com/office/officeart/2005/8/layout/hierarchy1"/>
    <dgm:cxn modelId="{084D8C94-26F3-4B41-8FB1-4F28937FAE0A}" type="presParOf" srcId="{9D364627-D8F6-4C57-A130-02BE214573D0}" destId="{17A74A57-CBFE-4C44-B03A-F8CE60235689}" srcOrd="0" destOrd="0" presId="urn:microsoft.com/office/officeart/2005/8/layout/hierarchy1"/>
    <dgm:cxn modelId="{F8D512FD-350F-406E-8476-B3FDFC730E7F}" type="presParOf" srcId="{9D364627-D8F6-4C57-A130-02BE214573D0}" destId="{44733E4B-7C2D-4058-8353-6E948F252C24}" srcOrd="1" destOrd="0" presId="urn:microsoft.com/office/officeart/2005/8/layout/hierarchy1"/>
    <dgm:cxn modelId="{671A0EE6-5F33-4441-A2F7-98EE69524809}" type="presParOf" srcId="{BEAC344B-21E4-4708-ABC6-5EDB5BE7AE25}" destId="{A3395D7F-25EC-4EF0-AAD5-9F6A0F7B985A}" srcOrd="1" destOrd="0" presId="urn:microsoft.com/office/officeart/2005/8/layout/hierarchy1"/>
    <dgm:cxn modelId="{364AF42F-447E-4F56-A159-04FDE4BB6A52}" type="presParOf" srcId="{A3395D7F-25EC-4EF0-AAD5-9F6A0F7B985A}" destId="{AF466879-87D4-4853-81EF-0663E1A06FF8}" srcOrd="0" destOrd="0" presId="urn:microsoft.com/office/officeart/2005/8/layout/hierarchy1"/>
    <dgm:cxn modelId="{AC74AAF0-1252-4AE0-8CAE-AD42B98E42EE}" type="presParOf" srcId="{A3395D7F-25EC-4EF0-AAD5-9F6A0F7B985A}" destId="{91A0CFAC-E757-434B-98D8-A97403990EE6}" srcOrd="1" destOrd="0" presId="urn:microsoft.com/office/officeart/2005/8/layout/hierarchy1"/>
    <dgm:cxn modelId="{952A9DD8-62D9-490C-9097-31B461563562}" type="presParOf" srcId="{91A0CFAC-E757-434B-98D8-A97403990EE6}" destId="{03786A0B-7E45-4822-A7AC-EE9B40742EC1}" srcOrd="0" destOrd="0" presId="urn:microsoft.com/office/officeart/2005/8/layout/hierarchy1"/>
    <dgm:cxn modelId="{2C723F66-6C81-4CD8-B585-414F40073386}" type="presParOf" srcId="{03786A0B-7E45-4822-A7AC-EE9B40742EC1}" destId="{5A5CB31D-D94F-499A-93BC-76E38105A4F3}" srcOrd="0" destOrd="0" presId="urn:microsoft.com/office/officeart/2005/8/layout/hierarchy1"/>
    <dgm:cxn modelId="{03B51A6D-E0D2-4A74-99D6-588EFA85422B}" type="presParOf" srcId="{03786A0B-7E45-4822-A7AC-EE9B40742EC1}" destId="{1D9AC33D-A649-475D-8783-E8384D47E8CE}" srcOrd="1" destOrd="0" presId="urn:microsoft.com/office/officeart/2005/8/layout/hierarchy1"/>
    <dgm:cxn modelId="{797016FC-D0A4-4A0C-980A-6568FF6194C3}" type="presParOf" srcId="{91A0CFAC-E757-434B-98D8-A97403990EE6}" destId="{1C9A9665-BEAF-4CF8-A0BA-01B3A671341B}" srcOrd="1" destOrd="0" presId="urn:microsoft.com/office/officeart/2005/8/layout/hierarchy1"/>
    <dgm:cxn modelId="{46F6C386-6F45-412F-AF98-CA2B8E705E2F}" type="presParOf" srcId="{A3395D7F-25EC-4EF0-AAD5-9F6A0F7B985A}" destId="{EF8C1D84-08CA-4801-88E6-8DCC2490B89E}" srcOrd="2" destOrd="0" presId="urn:microsoft.com/office/officeart/2005/8/layout/hierarchy1"/>
    <dgm:cxn modelId="{11EFC900-3ECE-4651-9C2C-A6F68DDE05DD}" type="presParOf" srcId="{A3395D7F-25EC-4EF0-AAD5-9F6A0F7B985A}" destId="{D59C18CE-0FB6-4053-BE9D-E9DB3A4F9609}" srcOrd="3" destOrd="0" presId="urn:microsoft.com/office/officeart/2005/8/layout/hierarchy1"/>
    <dgm:cxn modelId="{65222CC8-37EB-4E58-BA45-602011C2470D}" type="presParOf" srcId="{D59C18CE-0FB6-4053-BE9D-E9DB3A4F9609}" destId="{8A4DA9E4-6B9B-467E-9B9A-41CF035628FF}" srcOrd="0" destOrd="0" presId="urn:microsoft.com/office/officeart/2005/8/layout/hierarchy1"/>
    <dgm:cxn modelId="{83DA362D-5E3D-4E35-AB0D-09B1425619F2}" type="presParOf" srcId="{8A4DA9E4-6B9B-467E-9B9A-41CF035628FF}" destId="{F8E6CA54-7C84-4BFD-95F3-37FC628298BF}" srcOrd="0" destOrd="0" presId="urn:microsoft.com/office/officeart/2005/8/layout/hierarchy1"/>
    <dgm:cxn modelId="{4548AE74-CAB5-4357-8523-F13A89814099}" type="presParOf" srcId="{8A4DA9E4-6B9B-467E-9B9A-41CF035628FF}" destId="{8C905AA6-DE24-44A0-A3F5-B6E84DD50D8A}" srcOrd="1" destOrd="0" presId="urn:microsoft.com/office/officeart/2005/8/layout/hierarchy1"/>
    <dgm:cxn modelId="{E8E3A1DD-A401-46B3-A5FB-5E70A6D126DE}" type="presParOf" srcId="{D59C18CE-0FB6-4053-BE9D-E9DB3A4F9609}" destId="{DD5DA0F2-958D-4602-9728-E1E9530124FB}" srcOrd="1" destOrd="0" presId="urn:microsoft.com/office/officeart/2005/8/layout/hierarchy1"/>
    <dgm:cxn modelId="{F42E3C84-A21A-4FA1-9DA7-A1F07292C947}" type="presParOf" srcId="{A3395D7F-25EC-4EF0-AAD5-9F6A0F7B985A}" destId="{6BF25BC5-B7F2-4245-A522-5D0EEDEDCBE6}" srcOrd="4" destOrd="0" presId="urn:microsoft.com/office/officeart/2005/8/layout/hierarchy1"/>
    <dgm:cxn modelId="{3BFAC6DE-40AD-4050-9FF3-CEBF8BD0064C}" type="presParOf" srcId="{A3395D7F-25EC-4EF0-AAD5-9F6A0F7B985A}" destId="{EFF87124-D29F-40CB-B759-A7014C0CC174}" srcOrd="5" destOrd="0" presId="urn:microsoft.com/office/officeart/2005/8/layout/hierarchy1"/>
    <dgm:cxn modelId="{9E6135D8-6240-42D7-A880-278B25428BFE}" type="presParOf" srcId="{EFF87124-D29F-40CB-B759-A7014C0CC174}" destId="{12886A22-DBBA-47CE-B560-65B985B3F003}" srcOrd="0" destOrd="0" presId="urn:microsoft.com/office/officeart/2005/8/layout/hierarchy1"/>
    <dgm:cxn modelId="{86C9CD61-9D14-45E1-BB08-A290A32942C1}" type="presParOf" srcId="{12886A22-DBBA-47CE-B560-65B985B3F003}" destId="{A3A5C6E5-287B-426A-ADBC-E99138AAD59F}" srcOrd="0" destOrd="0" presId="urn:microsoft.com/office/officeart/2005/8/layout/hierarchy1"/>
    <dgm:cxn modelId="{ED4E8C71-39B4-4099-A40E-FEF1C29FF9EE}" type="presParOf" srcId="{12886A22-DBBA-47CE-B560-65B985B3F003}" destId="{B363E626-0075-4947-8670-AE40D05931B6}" srcOrd="1" destOrd="0" presId="urn:microsoft.com/office/officeart/2005/8/layout/hierarchy1"/>
    <dgm:cxn modelId="{60D5B815-FDB1-4B46-B4CB-13DCF216D0AF}" type="presParOf" srcId="{EFF87124-D29F-40CB-B759-A7014C0CC174}" destId="{748BFDB7-5874-4CC9-9727-34F7D1AB9607}" srcOrd="1" destOrd="0" presId="urn:microsoft.com/office/officeart/2005/8/layout/hierarchy1"/>
    <dgm:cxn modelId="{DD8C22B8-C1E3-41B4-A6A5-2ECE0BB556DE}" type="presParOf" srcId="{748BFDB7-5874-4CC9-9727-34F7D1AB9607}" destId="{336B2AB3-9300-40CB-B6E2-9391590982EA}" srcOrd="0" destOrd="0" presId="urn:microsoft.com/office/officeart/2005/8/layout/hierarchy1"/>
    <dgm:cxn modelId="{43B5FB8B-E40B-4F0A-8A20-5C408DCC0D53}" type="presParOf" srcId="{748BFDB7-5874-4CC9-9727-34F7D1AB9607}" destId="{ABB2E731-3387-4F7B-95DE-0AB5E88F95BA}" srcOrd="1" destOrd="0" presId="urn:microsoft.com/office/officeart/2005/8/layout/hierarchy1"/>
    <dgm:cxn modelId="{EBCEC267-5CBC-4F9B-AA98-98C644B96B3F}" type="presParOf" srcId="{ABB2E731-3387-4F7B-95DE-0AB5E88F95BA}" destId="{D9C41FA8-F127-42EA-A6A9-0611639A2EB7}" srcOrd="0" destOrd="0" presId="urn:microsoft.com/office/officeart/2005/8/layout/hierarchy1"/>
    <dgm:cxn modelId="{9A8B1ECB-80D4-43DE-BEEF-AECAF337DD40}" type="presParOf" srcId="{D9C41FA8-F127-42EA-A6A9-0611639A2EB7}" destId="{906C8E01-D89F-47D4-BEEC-4831EC6C26FA}" srcOrd="0" destOrd="0" presId="urn:microsoft.com/office/officeart/2005/8/layout/hierarchy1"/>
    <dgm:cxn modelId="{69061F78-C97C-4F43-A2C3-09FD211960BE}" type="presParOf" srcId="{D9C41FA8-F127-42EA-A6A9-0611639A2EB7}" destId="{35EC9386-7673-42AB-8452-1FB44D116ADB}" srcOrd="1" destOrd="0" presId="urn:microsoft.com/office/officeart/2005/8/layout/hierarchy1"/>
    <dgm:cxn modelId="{9C6A5DCF-73E6-4AE2-8E8E-7588E82158AF}" type="presParOf" srcId="{ABB2E731-3387-4F7B-95DE-0AB5E88F95BA}" destId="{C683886A-E3A6-4545-AABF-D7C45A3E5FED}" srcOrd="1" destOrd="0" presId="urn:microsoft.com/office/officeart/2005/8/layout/hierarchy1"/>
    <dgm:cxn modelId="{B8EFD210-BD8E-4A87-958A-5DCF94909604}" type="presParOf" srcId="{748BFDB7-5874-4CC9-9727-34F7D1AB9607}" destId="{75D8D4A3-859B-4811-8B95-08685ABDB1D9}" srcOrd="2" destOrd="0" presId="urn:microsoft.com/office/officeart/2005/8/layout/hierarchy1"/>
    <dgm:cxn modelId="{7265C503-51ED-45B5-B0E4-424A1DC9D61A}" type="presParOf" srcId="{748BFDB7-5874-4CC9-9727-34F7D1AB9607}" destId="{97784062-21A0-482B-A89D-1AD5D5359EFA}" srcOrd="3" destOrd="0" presId="urn:microsoft.com/office/officeart/2005/8/layout/hierarchy1"/>
    <dgm:cxn modelId="{274AA53C-F5F8-4A92-954D-DA8EAD8AD444}" type="presParOf" srcId="{97784062-21A0-482B-A89D-1AD5D5359EFA}" destId="{6C7D3D30-7F32-4EFB-AB93-3F396908E5E8}" srcOrd="0" destOrd="0" presId="urn:microsoft.com/office/officeart/2005/8/layout/hierarchy1"/>
    <dgm:cxn modelId="{4B8240AE-12A7-4C18-B89B-35DFAE0BFC88}" type="presParOf" srcId="{6C7D3D30-7F32-4EFB-AB93-3F396908E5E8}" destId="{208E92D7-EFDA-4E7C-A677-C4C7E80C4562}" srcOrd="0" destOrd="0" presId="urn:microsoft.com/office/officeart/2005/8/layout/hierarchy1"/>
    <dgm:cxn modelId="{BB4A0CBB-62BE-44E1-811C-DEE270B961C1}" type="presParOf" srcId="{6C7D3D30-7F32-4EFB-AB93-3F396908E5E8}" destId="{A2CFBF57-8D35-4B4D-A32D-B5E3268BC63F}" srcOrd="1" destOrd="0" presId="urn:microsoft.com/office/officeart/2005/8/layout/hierarchy1"/>
    <dgm:cxn modelId="{0E791E59-F221-4EB1-B50F-051DD102BC2B}" type="presParOf" srcId="{97784062-21A0-482B-A89D-1AD5D5359EFA}" destId="{20557FCD-9868-4FE3-9B34-C1AB9866EDD0}" srcOrd="1" destOrd="0" presId="urn:microsoft.com/office/officeart/2005/8/layout/hierarchy1"/>
    <dgm:cxn modelId="{9744F97F-25D2-4DD7-8D51-7B53FDC18729}" type="presParOf" srcId="{A3395D7F-25EC-4EF0-AAD5-9F6A0F7B985A}" destId="{A711383D-DE19-4346-82BB-15A4221F9962}" srcOrd="6" destOrd="0" presId="urn:microsoft.com/office/officeart/2005/8/layout/hierarchy1"/>
    <dgm:cxn modelId="{3C6DCDD4-717B-45C3-8504-2CE77329308D}" type="presParOf" srcId="{A3395D7F-25EC-4EF0-AAD5-9F6A0F7B985A}" destId="{A7CE0218-EFDB-40F6-AB4E-F329FD4BA21F}" srcOrd="7" destOrd="0" presId="urn:microsoft.com/office/officeart/2005/8/layout/hierarchy1"/>
    <dgm:cxn modelId="{54B80ACE-2A82-424D-86C5-76FDE139C1AF}" type="presParOf" srcId="{A7CE0218-EFDB-40F6-AB4E-F329FD4BA21F}" destId="{FE04C198-BF77-4D6D-97CC-B0FEB7FE7E8A}" srcOrd="0" destOrd="0" presId="urn:microsoft.com/office/officeart/2005/8/layout/hierarchy1"/>
    <dgm:cxn modelId="{510C9447-9207-4448-9877-D557E9EBDF47}" type="presParOf" srcId="{FE04C198-BF77-4D6D-97CC-B0FEB7FE7E8A}" destId="{88CF22B0-7529-43C3-BA96-951687FC10D1}" srcOrd="0" destOrd="0" presId="urn:microsoft.com/office/officeart/2005/8/layout/hierarchy1"/>
    <dgm:cxn modelId="{B4E62CFA-FF91-4835-9456-67DEE2559004}" type="presParOf" srcId="{FE04C198-BF77-4D6D-97CC-B0FEB7FE7E8A}" destId="{58F9629E-6907-4921-9124-B0289C66B2B0}" srcOrd="1" destOrd="0" presId="urn:microsoft.com/office/officeart/2005/8/layout/hierarchy1"/>
    <dgm:cxn modelId="{52608C4A-CA50-4775-8A2C-3B12936D917F}" type="presParOf" srcId="{A7CE0218-EFDB-40F6-AB4E-F329FD4BA21F}" destId="{9E31F4D0-DD59-48C2-B825-3D3E65294179}" srcOrd="1" destOrd="0" presId="urn:microsoft.com/office/officeart/2005/8/layout/hierarchy1"/>
    <dgm:cxn modelId="{B3FD1D60-65BF-4123-A5E1-A5B3BC74C61D}" type="presParOf" srcId="{A3395D7F-25EC-4EF0-AAD5-9F6A0F7B985A}" destId="{3A27BC0E-C99D-4DF2-8CE3-515F78169738}" srcOrd="8" destOrd="0" presId="urn:microsoft.com/office/officeart/2005/8/layout/hierarchy1"/>
    <dgm:cxn modelId="{348D9899-3F95-4C23-9BAC-739EAC39275F}" type="presParOf" srcId="{A3395D7F-25EC-4EF0-AAD5-9F6A0F7B985A}" destId="{D1694A1A-3861-459E-81E4-CD98AD360E31}" srcOrd="9" destOrd="0" presId="urn:microsoft.com/office/officeart/2005/8/layout/hierarchy1"/>
    <dgm:cxn modelId="{E215928A-CF58-47F5-BB59-EDD81EEBB9B5}" type="presParOf" srcId="{D1694A1A-3861-459E-81E4-CD98AD360E31}" destId="{F108E124-B957-4B92-A0B6-11FFF5CBD460}" srcOrd="0" destOrd="0" presId="urn:microsoft.com/office/officeart/2005/8/layout/hierarchy1"/>
    <dgm:cxn modelId="{A2916E8C-79A2-4874-86B0-C3CA08596CE8}" type="presParOf" srcId="{F108E124-B957-4B92-A0B6-11FFF5CBD460}" destId="{253608AE-D444-41E3-ABB8-CF5E2398A556}" srcOrd="0" destOrd="0" presId="urn:microsoft.com/office/officeart/2005/8/layout/hierarchy1"/>
    <dgm:cxn modelId="{FAEB4D93-5198-47ED-B719-E603D5008F1D}" type="presParOf" srcId="{F108E124-B957-4B92-A0B6-11FFF5CBD460}" destId="{BB3152DC-D874-4B4E-BEDF-57DDBE877DEB}" srcOrd="1" destOrd="0" presId="urn:microsoft.com/office/officeart/2005/8/layout/hierarchy1"/>
    <dgm:cxn modelId="{7685455B-6891-4533-BDB5-6DBC95238A93}" type="presParOf" srcId="{D1694A1A-3861-459E-81E4-CD98AD360E31}" destId="{ABCC7FEC-81EF-4705-9717-42F2CBE6A86A}" srcOrd="1" destOrd="0" presId="urn:microsoft.com/office/officeart/2005/8/layout/hierarchy1"/>
    <dgm:cxn modelId="{08D4726C-FC3C-4194-9AE4-A46F6C3CF927}" type="presParOf" srcId="{A3395D7F-25EC-4EF0-AAD5-9F6A0F7B985A}" destId="{43157244-FE89-43AD-B279-813636222B51}" srcOrd="10" destOrd="0" presId="urn:microsoft.com/office/officeart/2005/8/layout/hierarchy1"/>
    <dgm:cxn modelId="{8880F390-1CA2-47E2-87E3-2E9E32E51A68}" type="presParOf" srcId="{A3395D7F-25EC-4EF0-AAD5-9F6A0F7B985A}" destId="{A9A14560-A3C5-44E7-B7FF-85AFA4B1C9A3}" srcOrd="11" destOrd="0" presId="urn:microsoft.com/office/officeart/2005/8/layout/hierarchy1"/>
    <dgm:cxn modelId="{EEAD449D-B41A-4608-91E0-34642777570E}" type="presParOf" srcId="{A9A14560-A3C5-44E7-B7FF-85AFA4B1C9A3}" destId="{4D04ED15-3964-4194-AE82-6BE8C1E5D12C}" srcOrd="0" destOrd="0" presId="urn:microsoft.com/office/officeart/2005/8/layout/hierarchy1"/>
    <dgm:cxn modelId="{BE9A60B5-F1D3-490A-9633-6087FAA12E30}" type="presParOf" srcId="{4D04ED15-3964-4194-AE82-6BE8C1E5D12C}" destId="{C7FED918-BFF2-4714-9941-F1CB49E17A87}" srcOrd="0" destOrd="0" presId="urn:microsoft.com/office/officeart/2005/8/layout/hierarchy1"/>
    <dgm:cxn modelId="{FB8BC517-B97B-4DB9-B33B-5FE7061AB8FE}" type="presParOf" srcId="{4D04ED15-3964-4194-AE82-6BE8C1E5D12C}" destId="{FB88E6BB-C782-4A0F-AD73-E7C5F366E902}" srcOrd="1" destOrd="0" presId="urn:microsoft.com/office/officeart/2005/8/layout/hierarchy1"/>
    <dgm:cxn modelId="{659619FC-87D7-4684-9843-4B77023A379E}" type="presParOf" srcId="{A9A14560-A3C5-44E7-B7FF-85AFA4B1C9A3}" destId="{546C66B9-3FC0-42B2-8850-910DA13F1410}" srcOrd="1" destOrd="0" presId="urn:microsoft.com/office/officeart/2005/8/layout/hierarchy1"/>
    <dgm:cxn modelId="{66E49248-FA0C-40AF-9DD0-A8C88E60AA32}" type="presParOf" srcId="{A3395D7F-25EC-4EF0-AAD5-9F6A0F7B985A}" destId="{58754D45-479D-4258-869B-BFEE3571DE91}" srcOrd="12" destOrd="0" presId="urn:microsoft.com/office/officeart/2005/8/layout/hierarchy1"/>
    <dgm:cxn modelId="{8EB22B6E-8BD7-4DA5-AE73-F24E962E66E3}" type="presParOf" srcId="{A3395D7F-25EC-4EF0-AAD5-9F6A0F7B985A}" destId="{3A51442D-5192-4762-8DA5-1A6887E51725}" srcOrd="13" destOrd="0" presId="urn:microsoft.com/office/officeart/2005/8/layout/hierarchy1"/>
    <dgm:cxn modelId="{C7D690FA-08EE-42D4-AD5F-C693D76AEB4E}" type="presParOf" srcId="{3A51442D-5192-4762-8DA5-1A6887E51725}" destId="{1E2D0D9C-5833-42C5-8AB4-95026CDBF4BC}" srcOrd="0" destOrd="0" presId="urn:microsoft.com/office/officeart/2005/8/layout/hierarchy1"/>
    <dgm:cxn modelId="{F6255FC1-65F1-43FD-A7C4-0CB301CAF06A}" type="presParOf" srcId="{1E2D0D9C-5833-42C5-8AB4-95026CDBF4BC}" destId="{C1FDB298-18F8-485D-8507-F7C5662AD803}" srcOrd="0" destOrd="0" presId="urn:microsoft.com/office/officeart/2005/8/layout/hierarchy1"/>
    <dgm:cxn modelId="{8751238A-8BDE-4DAF-B2BB-8D0FEE266DBE}" type="presParOf" srcId="{1E2D0D9C-5833-42C5-8AB4-95026CDBF4BC}" destId="{B2BADAF8-9DAA-4ABD-ABDB-6BAC74D2E2A4}" srcOrd="1" destOrd="0" presId="urn:microsoft.com/office/officeart/2005/8/layout/hierarchy1"/>
    <dgm:cxn modelId="{E7BCF609-3A3C-4254-ADCF-CDB3565A7D2F}" type="presParOf" srcId="{3A51442D-5192-4762-8DA5-1A6887E51725}" destId="{16050362-0090-4E94-BD3E-3D61B1153A4D}"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065978-5B85-4247-BEB4-02170958236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CA"/>
        </a:p>
      </dgm:t>
    </dgm:pt>
    <dgm:pt modelId="{F9DCF915-8F56-46A2-BAEB-BE0F7CF8E739}">
      <dgm:prSet phldrT="[Text]"/>
      <dgm:spPr/>
      <dgm:t>
        <a:bodyPr/>
        <a:lstStyle/>
        <a:p>
          <a:r>
            <a:rPr lang="en-CA" dirty="0"/>
            <a:t>Reinforcement leaning </a:t>
          </a:r>
        </a:p>
      </dgm:t>
    </dgm:pt>
    <dgm:pt modelId="{9BD68F7E-ADA9-49D2-B103-35A990FE02C7}" type="parTrans" cxnId="{DA346F26-6F7B-4D02-8C99-3479856811D6}">
      <dgm:prSet/>
      <dgm:spPr/>
      <dgm:t>
        <a:bodyPr/>
        <a:lstStyle/>
        <a:p>
          <a:endParaRPr lang="en-CA"/>
        </a:p>
      </dgm:t>
    </dgm:pt>
    <dgm:pt modelId="{DDF0D896-31B5-45C3-B77E-8A1694A70406}" type="sibTrans" cxnId="{DA346F26-6F7B-4D02-8C99-3479856811D6}">
      <dgm:prSet/>
      <dgm:spPr/>
      <dgm:t>
        <a:bodyPr/>
        <a:lstStyle/>
        <a:p>
          <a:endParaRPr lang="en-CA"/>
        </a:p>
      </dgm:t>
    </dgm:pt>
    <dgm:pt modelId="{12EE0A89-DCE6-4A2E-90AB-C04504A996F7}">
      <dgm:prSet phldrT="[Text]"/>
      <dgm:spPr/>
      <dgm:t>
        <a:bodyPr/>
        <a:lstStyle/>
        <a:p>
          <a:r>
            <a:rPr lang="en-CA" dirty="0"/>
            <a:t>Monte Carlo methods</a:t>
          </a:r>
        </a:p>
      </dgm:t>
    </dgm:pt>
    <dgm:pt modelId="{11E6FF30-1501-41F9-BCF7-5FAC5ECB4676}" type="parTrans" cxnId="{CCDFCB71-F972-41C7-86C2-80D9E976F50D}">
      <dgm:prSet/>
      <dgm:spPr/>
      <dgm:t>
        <a:bodyPr/>
        <a:lstStyle/>
        <a:p>
          <a:endParaRPr lang="en-CA"/>
        </a:p>
      </dgm:t>
    </dgm:pt>
    <dgm:pt modelId="{BD86A21B-4C03-4749-B8CC-32F6906FC91C}" type="sibTrans" cxnId="{CCDFCB71-F972-41C7-86C2-80D9E976F50D}">
      <dgm:prSet/>
      <dgm:spPr/>
      <dgm:t>
        <a:bodyPr/>
        <a:lstStyle/>
        <a:p>
          <a:endParaRPr lang="en-CA"/>
        </a:p>
      </dgm:t>
    </dgm:pt>
    <dgm:pt modelId="{891671B7-AF00-47B8-9C9B-89AD587733C2}">
      <dgm:prSet phldrT="[Text]"/>
      <dgm:spPr/>
      <dgm:t>
        <a:bodyPr/>
        <a:lstStyle/>
        <a:p>
          <a:r>
            <a:rPr lang="en-CA" dirty="0"/>
            <a:t>Temporal deference methods</a:t>
          </a:r>
        </a:p>
      </dgm:t>
    </dgm:pt>
    <dgm:pt modelId="{0634AAF8-5E19-4546-92EE-CE77C8377B2E}" type="parTrans" cxnId="{751F60B1-1D5F-4425-89E1-2B261AFA70BF}">
      <dgm:prSet/>
      <dgm:spPr/>
      <dgm:t>
        <a:bodyPr/>
        <a:lstStyle/>
        <a:p>
          <a:endParaRPr lang="en-CA"/>
        </a:p>
      </dgm:t>
    </dgm:pt>
    <dgm:pt modelId="{705737CA-A66F-4E37-8856-A8EE1D58E8AF}" type="sibTrans" cxnId="{751F60B1-1D5F-4425-89E1-2B261AFA70BF}">
      <dgm:prSet/>
      <dgm:spPr/>
      <dgm:t>
        <a:bodyPr/>
        <a:lstStyle/>
        <a:p>
          <a:endParaRPr lang="en-CA"/>
        </a:p>
      </dgm:t>
    </dgm:pt>
    <dgm:pt modelId="{BE20E623-FE5B-47E6-9171-4C7A93E4DA60}">
      <dgm:prSet phldrT="[Text]"/>
      <dgm:spPr/>
      <dgm:t>
        <a:bodyPr/>
        <a:lstStyle/>
        <a:p>
          <a:r>
            <a:rPr lang="en-CA" dirty="0"/>
            <a:t>Q-learning</a:t>
          </a:r>
        </a:p>
      </dgm:t>
    </dgm:pt>
    <dgm:pt modelId="{21E0554C-B4E0-48A3-B5EE-29943FC75B8E}" type="parTrans" cxnId="{94526BBD-BDE0-4EC1-BE8C-AFDE7E79800E}">
      <dgm:prSet/>
      <dgm:spPr/>
      <dgm:t>
        <a:bodyPr/>
        <a:lstStyle/>
        <a:p>
          <a:endParaRPr lang="en-CA"/>
        </a:p>
      </dgm:t>
    </dgm:pt>
    <dgm:pt modelId="{DC21CAE3-B235-4106-8A3A-C67B8D6284D7}" type="sibTrans" cxnId="{94526BBD-BDE0-4EC1-BE8C-AFDE7E79800E}">
      <dgm:prSet/>
      <dgm:spPr/>
      <dgm:t>
        <a:bodyPr/>
        <a:lstStyle/>
        <a:p>
          <a:endParaRPr lang="en-CA"/>
        </a:p>
      </dgm:t>
    </dgm:pt>
    <dgm:pt modelId="{7BF5D0C8-157C-4171-8B5F-DEA194305E6D}">
      <dgm:prSet phldrT="[Text]"/>
      <dgm:spPr/>
      <dgm:t>
        <a:bodyPr/>
        <a:lstStyle/>
        <a:p>
          <a:r>
            <a:rPr lang="en-CA" dirty="0"/>
            <a:t>Dynamic programming</a:t>
          </a:r>
        </a:p>
      </dgm:t>
    </dgm:pt>
    <dgm:pt modelId="{0670150B-78AD-42A6-A291-84497785B015}" type="parTrans" cxnId="{1EB6B5FE-1ACD-42B0-85AD-B4080D9B58D5}">
      <dgm:prSet/>
      <dgm:spPr/>
      <dgm:t>
        <a:bodyPr/>
        <a:lstStyle/>
        <a:p>
          <a:endParaRPr lang="en-CA"/>
        </a:p>
      </dgm:t>
    </dgm:pt>
    <dgm:pt modelId="{802D10BE-144B-4AEE-90BD-39C931503840}" type="sibTrans" cxnId="{1EB6B5FE-1ACD-42B0-85AD-B4080D9B58D5}">
      <dgm:prSet/>
      <dgm:spPr/>
      <dgm:t>
        <a:bodyPr/>
        <a:lstStyle/>
        <a:p>
          <a:endParaRPr lang="en-CA"/>
        </a:p>
      </dgm:t>
    </dgm:pt>
    <dgm:pt modelId="{63F0263D-C92F-4D21-B9B4-B416816D4B04}">
      <dgm:prSet phldrT="[Text]"/>
      <dgm:spPr/>
      <dgm:t>
        <a:bodyPr/>
        <a:lstStyle/>
        <a:p>
          <a:r>
            <a:rPr lang="en-CA" dirty="0"/>
            <a:t>Continuous space</a:t>
          </a:r>
        </a:p>
      </dgm:t>
    </dgm:pt>
    <dgm:pt modelId="{8E7C40CD-9582-4922-8B09-7D05ABA7012C}" type="parTrans" cxnId="{9AB1C5F9-E66E-4F85-8E75-4EFB9FA40CB0}">
      <dgm:prSet/>
      <dgm:spPr/>
      <dgm:t>
        <a:bodyPr/>
        <a:lstStyle/>
        <a:p>
          <a:endParaRPr lang="en-CA"/>
        </a:p>
      </dgm:t>
    </dgm:pt>
    <dgm:pt modelId="{47BD71C4-69CB-4566-944B-738A7F082661}" type="sibTrans" cxnId="{9AB1C5F9-E66E-4F85-8E75-4EFB9FA40CB0}">
      <dgm:prSet/>
      <dgm:spPr/>
      <dgm:t>
        <a:bodyPr/>
        <a:lstStyle/>
        <a:p>
          <a:endParaRPr lang="en-CA"/>
        </a:p>
      </dgm:t>
    </dgm:pt>
    <dgm:pt modelId="{CD07666F-BFE3-445D-9DFB-6998EFD24A47}" type="pres">
      <dgm:prSet presAssocID="{AA065978-5B85-4247-BEB4-021709582366}" presName="hierChild1" presStyleCnt="0">
        <dgm:presLayoutVars>
          <dgm:chPref val="1"/>
          <dgm:dir/>
          <dgm:animOne val="branch"/>
          <dgm:animLvl val="lvl"/>
          <dgm:resizeHandles/>
        </dgm:presLayoutVars>
      </dgm:prSet>
      <dgm:spPr/>
    </dgm:pt>
    <dgm:pt modelId="{BEAC344B-21E4-4708-ABC6-5EDB5BE7AE25}" type="pres">
      <dgm:prSet presAssocID="{F9DCF915-8F56-46A2-BAEB-BE0F7CF8E739}" presName="hierRoot1" presStyleCnt="0"/>
      <dgm:spPr/>
    </dgm:pt>
    <dgm:pt modelId="{9D364627-D8F6-4C57-A130-02BE214573D0}" type="pres">
      <dgm:prSet presAssocID="{F9DCF915-8F56-46A2-BAEB-BE0F7CF8E739}" presName="composite" presStyleCnt="0"/>
      <dgm:spPr/>
    </dgm:pt>
    <dgm:pt modelId="{17A74A57-CBFE-4C44-B03A-F8CE60235689}" type="pres">
      <dgm:prSet presAssocID="{F9DCF915-8F56-46A2-BAEB-BE0F7CF8E739}" presName="background" presStyleLbl="node0" presStyleIdx="0" presStyleCnt="1"/>
      <dgm:spPr/>
    </dgm:pt>
    <dgm:pt modelId="{44733E4B-7C2D-4058-8353-6E948F252C24}" type="pres">
      <dgm:prSet presAssocID="{F9DCF915-8F56-46A2-BAEB-BE0F7CF8E739}" presName="text" presStyleLbl="fgAcc0" presStyleIdx="0" presStyleCnt="1">
        <dgm:presLayoutVars>
          <dgm:chPref val="3"/>
        </dgm:presLayoutVars>
      </dgm:prSet>
      <dgm:spPr/>
    </dgm:pt>
    <dgm:pt modelId="{A3395D7F-25EC-4EF0-AAD5-9F6A0F7B985A}" type="pres">
      <dgm:prSet presAssocID="{F9DCF915-8F56-46A2-BAEB-BE0F7CF8E739}" presName="hierChild2" presStyleCnt="0"/>
      <dgm:spPr/>
    </dgm:pt>
    <dgm:pt modelId="{AA5FF347-1085-4476-A276-DE07504F316B}" type="pres">
      <dgm:prSet presAssocID="{11E6FF30-1501-41F9-BCF7-5FAC5ECB4676}" presName="Name10" presStyleLbl="parChTrans1D2" presStyleIdx="0" presStyleCnt="5"/>
      <dgm:spPr/>
    </dgm:pt>
    <dgm:pt modelId="{FAC7A740-B0DC-43F6-A7F8-C81E9B10C02C}" type="pres">
      <dgm:prSet presAssocID="{12EE0A89-DCE6-4A2E-90AB-C04504A996F7}" presName="hierRoot2" presStyleCnt="0"/>
      <dgm:spPr/>
    </dgm:pt>
    <dgm:pt modelId="{32EABD79-1E04-49FC-8FA2-D7E875371DDA}" type="pres">
      <dgm:prSet presAssocID="{12EE0A89-DCE6-4A2E-90AB-C04504A996F7}" presName="composite2" presStyleCnt="0"/>
      <dgm:spPr/>
    </dgm:pt>
    <dgm:pt modelId="{42387234-89CA-42CC-8913-2908CB163169}" type="pres">
      <dgm:prSet presAssocID="{12EE0A89-DCE6-4A2E-90AB-C04504A996F7}" presName="background2" presStyleLbl="node2" presStyleIdx="0" presStyleCnt="5"/>
      <dgm:spPr/>
    </dgm:pt>
    <dgm:pt modelId="{352F830A-FCB5-4904-ABA9-754F95298182}" type="pres">
      <dgm:prSet presAssocID="{12EE0A89-DCE6-4A2E-90AB-C04504A996F7}" presName="text2" presStyleLbl="fgAcc2" presStyleIdx="0" presStyleCnt="5">
        <dgm:presLayoutVars>
          <dgm:chPref val="3"/>
        </dgm:presLayoutVars>
      </dgm:prSet>
      <dgm:spPr/>
    </dgm:pt>
    <dgm:pt modelId="{A89CF8DD-6536-4537-A112-50A75A96FBD6}" type="pres">
      <dgm:prSet presAssocID="{12EE0A89-DCE6-4A2E-90AB-C04504A996F7}" presName="hierChild3" presStyleCnt="0"/>
      <dgm:spPr/>
    </dgm:pt>
    <dgm:pt modelId="{2B52A9C2-AF14-4D90-9C3F-E15B541292A8}" type="pres">
      <dgm:prSet presAssocID="{0634AAF8-5E19-4546-92EE-CE77C8377B2E}" presName="Name10" presStyleLbl="parChTrans1D2" presStyleIdx="1" presStyleCnt="5"/>
      <dgm:spPr/>
    </dgm:pt>
    <dgm:pt modelId="{E267B578-FB23-4A33-B841-2DC355456B89}" type="pres">
      <dgm:prSet presAssocID="{891671B7-AF00-47B8-9C9B-89AD587733C2}" presName="hierRoot2" presStyleCnt="0"/>
      <dgm:spPr/>
    </dgm:pt>
    <dgm:pt modelId="{A8EBA647-73C1-4468-AA70-C21BE003AE6A}" type="pres">
      <dgm:prSet presAssocID="{891671B7-AF00-47B8-9C9B-89AD587733C2}" presName="composite2" presStyleCnt="0"/>
      <dgm:spPr/>
    </dgm:pt>
    <dgm:pt modelId="{835D84D4-379D-4004-B5BB-FA60F9D27AE8}" type="pres">
      <dgm:prSet presAssocID="{891671B7-AF00-47B8-9C9B-89AD587733C2}" presName="background2" presStyleLbl="node2" presStyleIdx="1" presStyleCnt="5"/>
      <dgm:spPr/>
    </dgm:pt>
    <dgm:pt modelId="{70070906-8E94-4500-81A4-67ABD505B532}" type="pres">
      <dgm:prSet presAssocID="{891671B7-AF00-47B8-9C9B-89AD587733C2}" presName="text2" presStyleLbl="fgAcc2" presStyleIdx="1" presStyleCnt="5">
        <dgm:presLayoutVars>
          <dgm:chPref val="3"/>
        </dgm:presLayoutVars>
      </dgm:prSet>
      <dgm:spPr/>
    </dgm:pt>
    <dgm:pt modelId="{6350D187-7BEF-4912-8D6D-1585BE4E1232}" type="pres">
      <dgm:prSet presAssocID="{891671B7-AF00-47B8-9C9B-89AD587733C2}" presName="hierChild3" presStyleCnt="0"/>
      <dgm:spPr/>
    </dgm:pt>
    <dgm:pt modelId="{FB9C199F-85F3-4FA6-A84E-3605E8CBE161}" type="pres">
      <dgm:prSet presAssocID="{21E0554C-B4E0-48A3-B5EE-29943FC75B8E}" presName="Name10" presStyleLbl="parChTrans1D2" presStyleIdx="2" presStyleCnt="5"/>
      <dgm:spPr/>
    </dgm:pt>
    <dgm:pt modelId="{6FDEDE61-08A6-482D-91DD-B8E0597C1B0A}" type="pres">
      <dgm:prSet presAssocID="{BE20E623-FE5B-47E6-9171-4C7A93E4DA60}" presName="hierRoot2" presStyleCnt="0"/>
      <dgm:spPr/>
    </dgm:pt>
    <dgm:pt modelId="{4CA6B95B-1239-438A-B856-DC9279F9FB2F}" type="pres">
      <dgm:prSet presAssocID="{BE20E623-FE5B-47E6-9171-4C7A93E4DA60}" presName="composite2" presStyleCnt="0"/>
      <dgm:spPr/>
    </dgm:pt>
    <dgm:pt modelId="{E2CC126D-93B5-442B-9AE2-A676772DC1B2}" type="pres">
      <dgm:prSet presAssocID="{BE20E623-FE5B-47E6-9171-4C7A93E4DA60}" presName="background2" presStyleLbl="node2" presStyleIdx="2" presStyleCnt="5"/>
      <dgm:spPr/>
    </dgm:pt>
    <dgm:pt modelId="{6785165F-8AAD-4FCF-A4E6-DE6C762D7239}" type="pres">
      <dgm:prSet presAssocID="{BE20E623-FE5B-47E6-9171-4C7A93E4DA60}" presName="text2" presStyleLbl="fgAcc2" presStyleIdx="2" presStyleCnt="5">
        <dgm:presLayoutVars>
          <dgm:chPref val="3"/>
        </dgm:presLayoutVars>
      </dgm:prSet>
      <dgm:spPr/>
    </dgm:pt>
    <dgm:pt modelId="{EC47AEC7-1084-429E-AA4B-9C28C226C084}" type="pres">
      <dgm:prSet presAssocID="{BE20E623-FE5B-47E6-9171-4C7A93E4DA60}" presName="hierChild3" presStyleCnt="0"/>
      <dgm:spPr/>
    </dgm:pt>
    <dgm:pt modelId="{D11A9883-E6A6-4CC2-9E06-0030FDEB6701}" type="pres">
      <dgm:prSet presAssocID="{0670150B-78AD-42A6-A291-84497785B015}" presName="Name10" presStyleLbl="parChTrans1D2" presStyleIdx="3" presStyleCnt="5"/>
      <dgm:spPr/>
    </dgm:pt>
    <dgm:pt modelId="{09551F66-A47B-4CB1-B69F-C6DD3D94C270}" type="pres">
      <dgm:prSet presAssocID="{7BF5D0C8-157C-4171-8B5F-DEA194305E6D}" presName="hierRoot2" presStyleCnt="0"/>
      <dgm:spPr/>
    </dgm:pt>
    <dgm:pt modelId="{40783E6C-9EF8-423A-8F95-8118534B074D}" type="pres">
      <dgm:prSet presAssocID="{7BF5D0C8-157C-4171-8B5F-DEA194305E6D}" presName="composite2" presStyleCnt="0"/>
      <dgm:spPr/>
    </dgm:pt>
    <dgm:pt modelId="{1744B771-F4BA-4B29-8FB4-25514107C18C}" type="pres">
      <dgm:prSet presAssocID="{7BF5D0C8-157C-4171-8B5F-DEA194305E6D}" presName="background2" presStyleLbl="node2" presStyleIdx="3" presStyleCnt="5"/>
      <dgm:spPr/>
    </dgm:pt>
    <dgm:pt modelId="{76B94716-FB65-475D-9873-AA1226482688}" type="pres">
      <dgm:prSet presAssocID="{7BF5D0C8-157C-4171-8B5F-DEA194305E6D}" presName="text2" presStyleLbl="fgAcc2" presStyleIdx="3" presStyleCnt="5">
        <dgm:presLayoutVars>
          <dgm:chPref val="3"/>
        </dgm:presLayoutVars>
      </dgm:prSet>
      <dgm:spPr/>
    </dgm:pt>
    <dgm:pt modelId="{008079F0-EF6E-452E-9568-CF0C0CE8CC14}" type="pres">
      <dgm:prSet presAssocID="{7BF5D0C8-157C-4171-8B5F-DEA194305E6D}" presName="hierChild3" presStyleCnt="0"/>
      <dgm:spPr/>
    </dgm:pt>
    <dgm:pt modelId="{F50EA006-2A48-4945-A0DD-4E4925C2C230}" type="pres">
      <dgm:prSet presAssocID="{8E7C40CD-9582-4922-8B09-7D05ABA7012C}" presName="Name10" presStyleLbl="parChTrans1D2" presStyleIdx="4" presStyleCnt="5"/>
      <dgm:spPr/>
    </dgm:pt>
    <dgm:pt modelId="{9D960E06-5559-45EF-8281-EB3D10A99F70}" type="pres">
      <dgm:prSet presAssocID="{63F0263D-C92F-4D21-B9B4-B416816D4B04}" presName="hierRoot2" presStyleCnt="0"/>
      <dgm:spPr/>
    </dgm:pt>
    <dgm:pt modelId="{5E5C4A3E-CEDA-4EDA-918C-2545D71D6E9E}" type="pres">
      <dgm:prSet presAssocID="{63F0263D-C92F-4D21-B9B4-B416816D4B04}" presName="composite2" presStyleCnt="0"/>
      <dgm:spPr/>
    </dgm:pt>
    <dgm:pt modelId="{A94E7799-FC93-4FD5-884A-97CC95B026C1}" type="pres">
      <dgm:prSet presAssocID="{63F0263D-C92F-4D21-B9B4-B416816D4B04}" presName="background2" presStyleLbl="node2" presStyleIdx="4" presStyleCnt="5"/>
      <dgm:spPr/>
    </dgm:pt>
    <dgm:pt modelId="{B39BFBD2-4A88-474B-B1EA-9E9DB0882A01}" type="pres">
      <dgm:prSet presAssocID="{63F0263D-C92F-4D21-B9B4-B416816D4B04}" presName="text2" presStyleLbl="fgAcc2" presStyleIdx="4" presStyleCnt="5">
        <dgm:presLayoutVars>
          <dgm:chPref val="3"/>
        </dgm:presLayoutVars>
      </dgm:prSet>
      <dgm:spPr/>
    </dgm:pt>
    <dgm:pt modelId="{2FCA8051-1204-4B0E-9756-CC84AC23A15C}" type="pres">
      <dgm:prSet presAssocID="{63F0263D-C92F-4D21-B9B4-B416816D4B04}" presName="hierChild3" presStyleCnt="0"/>
      <dgm:spPr/>
    </dgm:pt>
  </dgm:ptLst>
  <dgm:cxnLst>
    <dgm:cxn modelId="{B635E90D-4749-43AB-9ACC-6C5AA699C7E7}" type="presOf" srcId="{891671B7-AF00-47B8-9C9B-89AD587733C2}" destId="{70070906-8E94-4500-81A4-67ABD505B532}" srcOrd="0" destOrd="0" presId="urn:microsoft.com/office/officeart/2005/8/layout/hierarchy1"/>
    <dgm:cxn modelId="{26C04423-8F56-42BA-805B-48CA18DB75F9}" type="presOf" srcId="{63F0263D-C92F-4D21-B9B4-B416816D4B04}" destId="{B39BFBD2-4A88-474B-B1EA-9E9DB0882A01}" srcOrd="0" destOrd="0" presId="urn:microsoft.com/office/officeart/2005/8/layout/hierarchy1"/>
    <dgm:cxn modelId="{DA346F26-6F7B-4D02-8C99-3479856811D6}" srcId="{AA065978-5B85-4247-BEB4-021709582366}" destId="{F9DCF915-8F56-46A2-BAEB-BE0F7CF8E739}" srcOrd="0" destOrd="0" parTransId="{9BD68F7E-ADA9-49D2-B103-35A990FE02C7}" sibTransId="{DDF0D896-31B5-45C3-B77E-8A1694A70406}"/>
    <dgm:cxn modelId="{29C1663C-10AB-4EC5-97D3-E72805F47133}" type="presOf" srcId="{8E7C40CD-9582-4922-8B09-7D05ABA7012C}" destId="{F50EA006-2A48-4945-A0DD-4E4925C2C230}" srcOrd="0" destOrd="0" presId="urn:microsoft.com/office/officeart/2005/8/layout/hierarchy1"/>
    <dgm:cxn modelId="{8085354E-52BA-41D9-8250-9A0BFD13F965}" type="presOf" srcId="{12EE0A89-DCE6-4A2E-90AB-C04504A996F7}" destId="{352F830A-FCB5-4904-ABA9-754F95298182}" srcOrd="0" destOrd="0" presId="urn:microsoft.com/office/officeart/2005/8/layout/hierarchy1"/>
    <dgm:cxn modelId="{B1DAEC53-08AC-4650-844A-52FD6CC44102}" type="presOf" srcId="{AA065978-5B85-4247-BEB4-021709582366}" destId="{CD07666F-BFE3-445D-9DFB-6998EFD24A47}" srcOrd="0" destOrd="0" presId="urn:microsoft.com/office/officeart/2005/8/layout/hierarchy1"/>
    <dgm:cxn modelId="{2C7CF160-CFC9-431E-A3E4-CD9DDA711F2D}" type="presOf" srcId="{11E6FF30-1501-41F9-BCF7-5FAC5ECB4676}" destId="{AA5FF347-1085-4476-A276-DE07504F316B}" srcOrd="0" destOrd="0" presId="urn:microsoft.com/office/officeart/2005/8/layout/hierarchy1"/>
    <dgm:cxn modelId="{AC358661-AB4E-45B4-B561-C2B88F72F037}" type="presOf" srcId="{0634AAF8-5E19-4546-92EE-CE77C8377B2E}" destId="{2B52A9C2-AF14-4D90-9C3F-E15B541292A8}" srcOrd="0" destOrd="0" presId="urn:microsoft.com/office/officeart/2005/8/layout/hierarchy1"/>
    <dgm:cxn modelId="{CCDFCB71-F972-41C7-86C2-80D9E976F50D}" srcId="{F9DCF915-8F56-46A2-BAEB-BE0F7CF8E739}" destId="{12EE0A89-DCE6-4A2E-90AB-C04504A996F7}" srcOrd="0" destOrd="0" parTransId="{11E6FF30-1501-41F9-BCF7-5FAC5ECB4676}" sibTransId="{BD86A21B-4C03-4749-B8CC-32F6906FC91C}"/>
    <dgm:cxn modelId="{9856FA75-2739-445A-A30D-C87144CBFC0B}" type="presOf" srcId="{0670150B-78AD-42A6-A291-84497785B015}" destId="{D11A9883-E6A6-4CC2-9E06-0030FDEB6701}" srcOrd="0" destOrd="0" presId="urn:microsoft.com/office/officeart/2005/8/layout/hierarchy1"/>
    <dgm:cxn modelId="{0341B27C-2C67-4A67-AB2F-98AB789092F4}" type="presOf" srcId="{BE20E623-FE5B-47E6-9171-4C7A93E4DA60}" destId="{6785165F-8AAD-4FCF-A4E6-DE6C762D7239}" srcOrd="0" destOrd="0" presId="urn:microsoft.com/office/officeart/2005/8/layout/hierarchy1"/>
    <dgm:cxn modelId="{751F60B1-1D5F-4425-89E1-2B261AFA70BF}" srcId="{F9DCF915-8F56-46A2-BAEB-BE0F7CF8E739}" destId="{891671B7-AF00-47B8-9C9B-89AD587733C2}" srcOrd="1" destOrd="0" parTransId="{0634AAF8-5E19-4546-92EE-CE77C8377B2E}" sibTransId="{705737CA-A66F-4E37-8856-A8EE1D58E8AF}"/>
    <dgm:cxn modelId="{94526BBD-BDE0-4EC1-BE8C-AFDE7E79800E}" srcId="{F9DCF915-8F56-46A2-BAEB-BE0F7CF8E739}" destId="{BE20E623-FE5B-47E6-9171-4C7A93E4DA60}" srcOrd="2" destOrd="0" parTransId="{21E0554C-B4E0-48A3-B5EE-29943FC75B8E}" sibTransId="{DC21CAE3-B235-4106-8A3A-C67B8D6284D7}"/>
    <dgm:cxn modelId="{1DDF00BE-1DAE-4BE3-86D6-466AE95F2FEB}" type="presOf" srcId="{F9DCF915-8F56-46A2-BAEB-BE0F7CF8E739}" destId="{44733E4B-7C2D-4058-8353-6E948F252C24}" srcOrd="0" destOrd="0" presId="urn:microsoft.com/office/officeart/2005/8/layout/hierarchy1"/>
    <dgm:cxn modelId="{50A859C3-AA23-45BE-989A-56DD49ECEDC9}" type="presOf" srcId="{7BF5D0C8-157C-4171-8B5F-DEA194305E6D}" destId="{76B94716-FB65-475D-9873-AA1226482688}" srcOrd="0" destOrd="0" presId="urn:microsoft.com/office/officeart/2005/8/layout/hierarchy1"/>
    <dgm:cxn modelId="{9AB1C5F9-E66E-4F85-8E75-4EFB9FA40CB0}" srcId="{F9DCF915-8F56-46A2-BAEB-BE0F7CF8E739}" destId="{63F0263D-C92F-4D21-B9B4-B416816D4B04}" srcOrd="4" destOrd="0" parTransId="{8E7C40CD-9582-4922-8B09-7D05ABA7012C}" sibTransId="{47BD71C4-69CB-4566-944B-738A7F082661}"/>
    <dgm:cxn modelId="{29B52BFE-7A66-458A-9924-0CD9C0DDBDD0}" type="presOf" srcId="{21E0554C-B4E0-48A3-B5EE-29943FC75B8E}" destId="{FB9C199F-85F3-4FA6-A84E-3605E8CBE161}" srcOrd="0" destOrd="0" presId="urn:microsoft.com/office/officeart/2005/8/layout/hierarchy1"/>
    <dgm:cxn modelId="{1EB6B5FE-1ACD-42B0-85AD-B4080D9B58D5}" srcId="{F9DCF915-8F56-46A2-BAEB-BE0F7CF8E739}" destId="{7BF5D0C8-157C-4171-8B5F-DEA194305E6D}" srcOrd="3" destOrd="0" parTransId="{0670150B-78AD-42A6-A291-84497785B015}" sibTransId="{802D10BE-144B-4AEE-90BD-39C931503840}"/>
    <dgm:cxn modelId="{5128698E-5283-4AC5-BF5D-1DFBA31E01D7}" type="presParOf" srcId="{CD07666F-BFE3-445D-9DFB-6998EFD24A47}" destId="{BEAC344B-21E4-4708-ABC6-5EDB5BE7AE25}" srcOrd="0" destOrd="0" presId="urn:microsoft.com/office/officeart/2005/8/layout/hierarchy1"/>
    <dgm:cxn modelId="{6255DA73-BA1B-40D4-884F-0720D6FE9081}" type="presParOf" srcId="{BEAC344B-21E4-4708-ABC6-5EDB5BE7AE25}" destId="{9D364627-D8F6-4C57-A130-02BE214573D0}" srcOrd="0" destOrd="0" presId="urn:microsoft.com/office/officeart/2005/8/layout/hierarchy1"/>
    <dgm:cxn modelId="{084D8C94-26F3-4B41-8FB1-4F28937FAE0A}" type="presParOf" srcId="{9D364627-D8F6-4C57-A130-02BE214573D0}" destId="{17A74A57-CBFE-4C44-B03A-F8CE60235689}" srcOrd="0" destOrd="0" presId="urn:microsoft.com/office/officeart/2005/8/layout/hierarchy1"/>
    <dgm:cxn modelId="{F8D512FD-350F-406E-8476-B3FDFC730E7F}" type="presParOf" srcId="{9D364627-D8F6-4C57-A130-02BE214573D0}" destId="{44733E4B-7C2D-4058-8353-6E948F252C24}" srcOrd="1" destOrd="0" presId="urn:microsoft.com/office/officeart/2005/8/layout/hierarchy1"/>
    <dgm:cxn modelId="{671A0EE6-5F33-4441-A2F7-98EE69524809}" type="presParOf" srcId="{BEAC344B-21E4-4708-ABC6-5EDB5BE7AE25}" destId="{A3395D7F-25EC-4EF0-AAD5-9F6A0F7B985A}" srcOrd="1" destOrd="0" presId="urn:microsoft.com/office/officeart/2005/8/layout/hierarchy1"/>
    <dgm:cxn modelId="{5682A59D-8ECD-4F10-A293-66D77D9639CD}" type="presParOf" srcId="{A3395D7F-25EC-4EF0-AAD5-9F6A0F7B985A}" destId="{AA5FF347-1085-4476-A276-DE07504F316B}" srcOrd="0" destOrd="0" presId="urn:microsoft.com/office/officeart/2005/8/layout/hierarchy1"/>
    <dgm:cxn modelId="{29083D58-CF72-4B9B-A91A-7C5CA52EDB21}" type="presParOf" srcId="{A3395D7F-25EC-4EF0-AAD5-9F6A0F7B985A}" destId="{FAC7A740-B0DC-43F6-A7F8-C81E9B10C02C}" srcOrd="1" destOrd="0" presId="urn:microsoft.com/office/officeart/2005/8/layout/hierarchy1"/>
    <dgm:cxn modelId="{90C4F86E-C34F-43D1-814B-F532B5EAE877}" type="presParOf" srcId="{FAC7A740-B0DC-43F6-A7F8-C81E9B10C02C}" destId="{32EABD79-1E04-49FC-8FA2-D7E875371DDA}" srcOrd="0" destOrd="0" presId="urn:microsoft.com/office/officeart/2005/8/layout/hierarchy1"/>
    <dgm:cxn modelId="{4CE2642E-AA9B-47FB-86FB-FD9BB32DDCA7}" type="presParOf" srcId="{32EABD79-1E04-49FC-8FA2-D7E875371DDA}" destId="{42387234-89CA-42CC-8913-2908CB163169}" srcOrd="0" destOrd="0" presId="urn:microsoft.com/office/officeart/2005/8/layout/hierarchy1"/>
    <dgm:cxn modelId="{233AF232-FFCE-459E-BE43-C89A793E8D19}" type="presParOf" srcId="{32EABD79-1E04-49FC-8FA2-D7E875371DDA}" destId="{352F830A-FCB5-4904-ABA9-754F95298182}" srcOrd="1" destOrd="0" presId="urn:microsoft.com/office/officeart/2005/8/layout/hierarchy1"/>
    <dgm:cxn modelId="{C550925D-4D77-4338-B3A7-D589C67EA5D7}" type="presParOf" srcId="{FAC7A740-B0DC-43F6-A7F8-C81E9B10C02C}" destId="{A89CF8DD-6536-4537-A112-50A75A96FBD6}" srcOrd="1" destOrd="0" presId="urn:microsoft.com/office/officeart/2005/8/layout/hierarchy1"/>
    <dgm:cxn modelId="{5C0773BF-E234-4DBA-A1E3-957A8CDAC3F0}" type="presParOf" srcId="{A3395D7F-25EC-4EF0-AAD5-9F6A0F7B985A}" destId="{2B52A9C2-AF14-4D90-9C3F-E15B541292A8}" srcOrd="2" destOrd="0" presId="urn:microsoft.com/office/officeart/2005/8/layout/hierarchy1"/>
    <dgm:cxn modelId="{B310E586-5A1F-4AC5-A2E7-847994596FC7}" type="presParOf" srcId="{A3395D7F-25EC-4EF0-AAD5-9F6A0F7B985A}" destId="{E267B578-FB23-4A33-B841-2DC355456B89}" srcOrd="3" destOrd="0" presId="urn:microsoft.com/office/officeart/2005/8/layout/hierarchy1"/>
    <dgm:cxn modelId="{6A56837A-D9F0-4E32-954C-18F4DF5203FB}" type="presParOf" srcId="{E267B578-FB23-4A33-B841-2DC355456B89}" destId="{A8EBA647-73C1-4468-AA70-C21BE003AE6A}" srcOrd="0" destOrd="0" presId="urn:microsoft.com/office/officeart/2005/8/layout/hierarchy1"/>
    <dgm:cxn modelId="{20B568B1-6B61-4F50-BB12-A5B7C6F91352}" type="presParOf" srcId="{A8EBA647-73C1-4468-AA70-C21BE003AE6A}" destId="{835D84D4-379D-4004-B5BB-FA60F9D27AE8}" srcOrd="0" destOrd="0" presId="urn:microsoft.com/office/officeart/2005/8/layout/hierarchy1"/>
    <dgm:cxn modelId="{0AC3A1B4-E1EC-49B1-83C0-E41FE14B5C9B}" type="presParOf" srcId="{A8EBA647-73C1-4468-AA70-C21BE003AE6A}" destId="{70070906-8E94-4500-81A4-67ABD505B532}" srcOrd="1" destOrd="0" presId="urn:microsoft.com/office/officeart/2005/8/layout/hierarchy1"/>
    <dgm:cxn modelId="{CAECD6F6-5657-4C78-9ACF-4F5BD829602B}" type="presParOf" srcId="{E267B578-FB23-4A33-B841-2DC355456B89}" destId="{6350D187-7BEF-4912-8D6D-1585BE4E1232}" srcOrd="1" destOrd="0" presId="urn:microsoft.com/office/officeart/2005/8/layout/hierarchy1"/>
    <dgm:cxn modelId="{8E694634-C4C4-4CDF-B4C8-054C6AEBF128}" type="presParOf" srcId="{A3395D7F-25EC-4EF0-AAD5-9F6A0F7B985A}" destId="{FB9C199F-85F3-4FA6-A84E-3605E8CBE161}" srcOrd="4" destOrd="0" presId="urn:microsoft.com/office/officeart/2005/8/layout/hierarchy1"/>
    <dgm:cxn modelId="{960D4B85-DAB5-45A1-B5B6-7697703B1744}" type="presParOf" srcId="{A3395D7F-25EC-4EF0-AAD5-9F6A0F7B985A}" destId="{6FDEDE61-08A6-482D-91DD-B8E0597C1B0A}" srcOrd="5" destOrd="0" presId="urn:microsoft.com/office/officeart/2005/8/layout/hierarchy1"/>
    <dgm:cxn modelId="{9F5468D9-5B52-422C-858E-4B306A76A222}" type="presParOf" srcId="{6FDEDE61-08A6-482D-91DD-B8E0597C1B0A}" destId="{4CA6B95B-1239-438A-B856-DC9279F9FB2F}" srcOrd="0" destOrd="0" presId="urn:microsoft.com/office/officeart/2005/8/layout/hierarchy1"/>
    <dgm:cxn modelId="{8629F913-F388-4C83-A461-D99DA3108554}" type="presParOf" srcId="{4CA6B95B-1239-438A-B856-DC9279F9FB2F}" destId="{E2CC126D-93B5-442B-9AE2-A676772DC1B2}" srcOrd="0" destOrd="0" presId="urn:microsoft.com/office/officeart/2005/8/layout/hierarchy1"/>
    <dgm:cxn modelId="{3056EA0C-FDC0-4B28-AA4C-093CCF72369F}" type="presParOf" srcId="{4CA6B95B-1239-438A-B856-DC9279F9FB2F}" destId="{6785165F-8AAD-4FCF-A4E6-DE6C762D7239}" srcOrd="1" destOrd="0" presId="urn:microsoft.com/office/officeart/2005/8/layout/hierarchy1"/>
    <dgm:cxn modelId="{072B6341-7120-4D11-B7F4-DFB43D9FF687}" type="presParOf" srcId="{6FDEDE61-08A6-482D-91DD-B8E0597C1B0A}" destId="{EC47AEC7-1084-429E-AA4B-9C28C226C084}" srcOrd="1" destOrd="0" presId="urn:microsoft.com/office/officeart/2005/8/layout/hierarchy1"/>
    <dgm:cxn modelId="{C7A8E144-0901-4C74-B4BF-61099793F81F}" type="presParOf" srcId="{A3395D7F-25EC-4EF0-AAD5-9F6A0F7B985A}" destId="{D11A9883-E6A6-4CC2-9E06-0030FDEB6701}" srcOrd="6" destOrd="0" presId="urn:microsoft.com/office/officeart/2005/8/layout/hierarchy1"/>
    <dgm:cxn modelId="{55F2C57B-BB75-471A-BC3A-9C30ED8C75CB}" type="presParOf" srcId="{A3395D7F-25EC-4EF0-AAD5-9F6A0F7B985A}" destId="{09551F66-A47B-4CB1-B69F-C6DD3D94C270}" srcOrd="7" destOrd="0" presId="urn:microsoft.com/office/officeart/2005/8/layout/hierarchy1"/>
    <dgm:cxn modelId="{66B07DFD-9E8C-48F1-B2FF-CE53642B304D}" type="presParOf" srcId="{09551F66-A47B-4CB1-B69F-C6DD3D94C270}" destId="{40783E6C-9EF8-423A-8F95-8118534B074D}" srcOrd="0" destOrd="0" presId="urn:microsoft.com/office/officeart/2005/8/layout/hierarchy1"/>
    <dgm:cxn modelId="{1B00ABA6-6DA6-4D97-89D6-53A965E80837}" type="presParOf" srcId="{40783E6C-9EF8-423A-8F95-8118534B074D}" destId="{1744B771-F4BA-4B29-8FB4-25514107C18C}" srcOrd="0" destOrd="0" presId="urn:microsoft.com/office/officeart/2005/8/layout/hierarchy1"/>
    <dgm:cxn modelId="{68AF25FE-865B-41B5-954E-964F449B506B}" type="presParOf" srcId="{40783E6C-9EF8-423A-8F95-8118534B074D}" destId="{76B94716-FB65-475D-9873-AA1226482688}" srcOrd="1" destOrd="0" presId="urn:microsoft.com/office/officeart/2005/8/layout/hierarchy1"/>
    <dgm:cxn modelId="{10FB41D2-107B-4DDA-A3CA-4C76A26ABF26}" type="presParOf" srcId="{09551F66-A47B-4CB1-B69F-C6DD3D94C270}" destId="{008079F0-EF6E-452E-9568-CF0C0CE8CC14}" srcOrd="1" destOrd="0" presId="urn:microsoft.com/office/officeart/2005/8/layout/hierarchy1"/>
    <dgm:cxn modelId="{F0AD3055-9A59-48BB-A9B7-AAE409B2ACFA}" type="presParOf" srcId="{A3395D7F-25EC-4EF0-AAD5-9F6A0F7B985A}" destId="{F50EA006-2A48-4945-A0DD-4E4925C2C230}" srcOrd="8" destOrd="0" presId="urn:microsoft.com/office/officeart/2005/8/layout/hierarchy1"/>
    <dgm:cxn modelId="{B1D6C286-F419-4E5A-98A8-B6FC529C18D0}" type="presParOf" srcId="{A3395D7F-25EC-4EF0-AAD5-9F6A0F7B985A}" destId="{9D960E06-5559-45EF-8281-EB3D10A99F70}" srcOrd="9" destOrd="0" presId="urn:microsoft.com/office/officeart/2005/8/layout/hierarchy1"/>
    <dgm:cxn modelId="{EFFECD28-8CC2-4793-9D2F-1DD2A188B585}" type="presParOf" srcId="{9D960E06-5559-45EF-8281-EB3D10A99F70}" destId="{5E5C4A3E-CEDA-4EDA-918C-2545D71D6E9E}" srcOrd="0" destOrd="0" presId="urn:microsoft.com/office/officeart/2005/8/layout/hierarchy1"/>
    <dgm:cxn modelId="{3D873838-BED5-4A44-AFCA-1AA56F7830C8}" type="presParOf" srcId="{5E5C4A3E-CEDA-4EDA-918C-2545D71D6E9E}" destId="{A94E7799-FC93-4FD5-884A-97CC95B026C1}" srcOrd="0" destOrd="0" presId="urn:microsoft.com/office/officeart/2005/8/layout/hierarchy1"/>
    <dgm:cxn modelId="{DC775AE5-5019-4DAD-8AA2-F1AF225D089F}" type="presParOf" srcId="{5E5C4A3E-CEDA-4EDA-918C-2545D71D6E9E}" destId="{B39BFBD2-4A88-474B-B1EA-9E9DB0882A01}" srcOrd="1" destOrd="0" presId="urn:microsoft.com/office/officeart/2005/8/layout/hierarchy1"/>
    <dgm:cxn modelId="{B33CA8FA-3104-4208-8113-0FD2259F0739}" type="presParOf" srcId="{9D960E06-5559-45EF-8281-EB3D10A99F70}" destId="{2FCA8051-1204-4B0E-9756-CC84AC23A15C}"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74D569-6EE0-4BDA-8DEE-BC9961614EEB}" type="doc">
      <dgm:prSet loTypeId="urn:microsoft.com/office/officeart/2005/8/layout/chevron1" loCatId="process" qsTypeId="urn:microsoft.com/office/officeart/2005/8/quickstyle/simple1" qsCatId="simple" csTypeId="urn:microsoft.com/office/officeart/2005/8/colors/accent1_2" csCatId="accent1" phldr="1"/>
      <dgm:spPr/>
    </dgm:pt>
    <dgm:pt modelId="{AC70DABB-7201-4C10-8AA8-7A95075EAA42}">
      <dgm:prSet phldrT="[Text]"/>
      <dgm:spPr/>
      <dgm:t>
        <a:bodyPr/>
        <a:lstStyle/>
        <a:p>
          <a:r>
            <a:rPr lang="en-CA" dirty="0"/>
            <a:t>Collect Data</a:t>
          </a:r>
        </a:p>
      </dgm:t>
    </dgm:pt>
    <dgm:pt modelId="{FCD71FED-B04F-48D8-AD8B-CFD7B65FC405}" type="parTrans" cxnId="{14C5BF44-A2F6-495B-845D-E93D5A1C016D}">
      <dgm:prSet/>
      <dgm:spPr/>
      <dgm:t>
        <a:bodyPr/>
        <a:lstStyle/>
        <a:p>
          <a:endParaRPr lang="en-CA"/>
        </a:p>
      </dgm:t>
    </dgm:pt>
    <dgm:pt modelId="{D34D16D8-3D05-4A53-923F-50F31AA9A0EF}" type="sibTrans" cxnId="{14C5BF44-A2F6-495B-845D-E93D5A1C016D}">
      <dgm:prSet/>
      <dgm:spPr/>
      <dgm:t>
        <a:bodyPr/>
        <a:lstStyle/>
        <a:p>
          <a:endParaRPr lang="en-CA"/>
        </a:p>
      </dgm:t>
    </dgm:pt>
    <dgm:pt modelId="{D564C733-E4A7-40D1-B6B7-D1DEAD5DBA8F}">
      <dgm:prSet phldrT="[Text]"/>
      <dgm:spPr/>
      <dgm:t>
        <a:bodyPr/>
        <a:lstStyle/>
        <a:p>
          <a:r>
            <a:rPr lang="en-CA" dirty="0"/>
            <a:t>Text  Filtering</a:t>
          </a:r>
        </a:p>
      </dgm:t>
    </dgm:pt>
    <dgm:pt modelId="{3784CE02-1E6C-487D-8A49-9A819519C2BB}" type="parTrans" cxnId="{7598B21C-C70B-4202-8531-A3A11C080F24}">
      <dgm:prSet/>
      <dgm:spPr/>
      <dgm:t>
        <a:bodyPr/>
        <a:lstStyle/>
        <a:p>
          <a:endParaRPr lang="en-CA"/>
        </a:p>
      </dgm:t>
    </dgm:pt>
    <dgm:pt modelId="{A2BD4E38-BAEF-49DC-BBC3-5748EC27F5A5}" type="sibTrans" cxnId="{7598B21C-C70B-4202-8531-A3A11C080F24}">
      <dgm:prSet/>
      <dgm:spPr/>
      <dgm:t>
        <a:bodyPr/>
        <a:lstStyle/>
        <a:p>
          <a:endParaRPr lang="en-CA"/>
        </a:p>
      </dgm:t>
    </dgm:pt>
    <dgm:pt modelId="{E0431448-426B-4482-96B1-3EAF6F6FDD58}">
      <dgm:prSet phldrT="[Text]"/>
      <dgm:spPr/>
      <dgm:t>
        <a:bodyPr/>
        <a:lstStyle/>
        <a:p>
          <a:r>
            <a:rPr lang="en-CA" dirty="0"/>
            <a:t>Transformation</a:t>
          </a:r>
        </a:p>
      </dgm:t>
    </dgm:pt>
    <dgm:pt modelId="{34F745AF-B621-4A04-A484-3D3E6917F117}" type="parTrans" cxnId="{2162B8F2-BCDA-46DF-B645-E99BF79B1CF0}">
      <dgm:prSet/>
      <dgm:spPr/>
      <dgm:t>
        <a:bodyPr/>
        <a:lstStyle/>
        <a:p>
          <a:endParaRPr lang="en-CA"/>
        </a:p>
      </dgm:t>
    </dgm:pt>
    <dgm:pt modelId="{B7F44DAF-C1DF-4949-835F-1C04EC63ABE4}" type="sibTrans" cxnId="{2162B8F2-BCDA-46DF-B645-E99BF79B1CF0}">
      <dgm:prSet/>
      <dgm:spPr/>
      <dgm:t>
        <a:bodyPr/>
        <a:lstStyle/>
        <a:p>
          <a:endParaRPr lang="en-CA"/>
        </a:p>
      </dgm:t>
    </dgm:pt>
    <dgm:pt modelId="{1A6EAF52-F828-41C6-AEBA-4C90FB42ADA0}">
      <dgm:prSet phldrT="[Text]"/>
      <dgm:spPr/>
      <dgm:t>
        <a:bodyPr/>
        <a:lstStyle/>
        <a:p>
          <a:r>
            <a:rPr lang="en-CA" dirty="0"/>
            <a:t>Text Parsing</a:t>
          </a:r>
        </a:p>
      </dgm:t>
    </dgm:pt>
    <dgm:pt modelId="{166E5CB8-8617-4590-8EE1-A95C0527B25A}" type="parTrans" cxnId="{C60BB2BD-778C-4DFA-987D-6E2CB2FBC37B}">
      <dgm:prSet/>
      <dgm:spPr/>
      <dgm:t>
        <a:bodyPr/>
        <a:lstStyle/>
        <a:p>
          <a:endParaRPr lang="en-CA"/>
        </a:p>
      </dgm:t>
    </dgm:pt>
    <dgm:pt modelId="{CB18529F-FD38-409E-AA75-47E3AF8543BF}" type="sibTrans" cxnId="{C60BB2BD-778C-4DFA-987D-6E2CB2FBC37B}">
      <dgm:prSet/>
      <dgm:spPr/>
      <dgm:t>
        <a:bodyPr/>
        <a:lstStyle/>
        <a:p>
          <a:endParaRPr lang="en-CA"/>
        </a:p>
      </dgm:t>
    </dgm:pt>
    <dgm:pt modelId="{62BBCAB9-2727-497F-A0CA-FAB2D05D37E0}">
      <dgm:prSet phldrT="[Text]"/>
      <dgm:spPr/>
      <dgm:t>
        <a:bodyPr/>
        <a:lstStyle/>
        <a:p>
          <a:r>
            <a:rPr lang="en-CA" dirty="0"/>
            <a:t>Text Mining</a:t>
          </a:r>
        </a:p>
      </dgm:t>
    </dgm:pt>
    <dgm:pt modelId="{E0F045F8-B81F-4A9C-8984-6447C179B87C}" type="parTrans" cxnId="{08CAB282-E7E3-4296-A217-4574443AE926}">
      <dgm:prSet/>
      <dgm:spPr/>
      <dgm:t>
        <a:bodyPr/>
        <a:lstStyle/>
        <a:p>
          <a:endParaRPr lang="en-CA"/>
        </a:p>
      </dgm:t>
    </dgm:pt>
    <dgm:pt modelId="{16B1918E-64A1-445D-93DC-4FFFFCF8668E}" type="sibTrans" cxnId="{08CAB282-E7E3-4296-A217-4574443AE926}">
      <dgm:prSet/>
      <dgm:spPr/>
      <dgm:t>
        <a:bodyPr/>
        <a:lstStyle/>
        <a:p>
          <a:endParaRPr lang="en-CA"/>
        </a:p>
      </dgm:t>
    </dgm:pt>
    <dgm:pt modelId="{8453E9C7-D5ED-49C2-B2BB-18215AB5ED83}" type="pres">
      <dgm:prSet presAssocID="{D374D569-6EE0-4BDA-8DEE-BC9961614EEB}" presName="Name0" presStyleCnt="0">
        <dgm:presLayoutVars>
          <dgm:dir/>
          <dgm:animLvl val="lvl"/>
          <dgm:resizeHandles val="exact"/>
        </dgm:presLayoutVars>
      </dgm:prSet>
      <dgm:spPr/>
    </dgm:pt>
    <dgm:pt modelId="{8478FA2A-3CDA-450C-8ADF-D75C1A74A715}" type="pres">
      <dgm:prSet presAssocID="{AC70DABB-7201-4C10-8AA8-7A95075EAA42}" presName="parTxOnly" presStyleLbl="node1" presStyleIdx="0" presStyleCnt="5">
        <dgm:presLayoutVars>
          <dgm:chMax val="0"/>
          <dgm:chPref val="0"/>
          <dgm:bulletEnabled val="1"/>
        </dgm:presLayoutVars>
      </dgm:prSet>
      <dgm:spPr/>
    </dgm:pt>
    <dgm:pt modelId="{00D4A6E6-F5DA-4F2D-8926-B957F04493A3}" type="pres">
      <dgm:prSet presAssocID="{D34D16D8-3D05-4A53-923F-50F31AA9A0EF}" presName="parTxOnlySpace" presStyleCnt="0"/>
      <dgm:spPr/>
    </dgm:pt>
    <dgm:pt modelId="{FC3CF130-F108-4F32-ACED-5FFE75108CA7}" type="pres">
      <dgm:prSet presAssocID="{1A6EAF52-F828-41C6-AEBA-4C90FB42ADA0}" presName="parTxOnly" presStyleLbl="node1" presStyleIdx="1" presStyleCnt="5">
        <dgm:presLayoutVars>
          <dgm:chMax val="0"/>
          <dgm:chPref val="0"/>
          <dgm:bulletEnabled val="1"/>
        </dgm:presLayoutVars>
      </dgm:prSet>
      <dgm:spPr/>
    </dgm:pt>
    <dgm:pt modelId="{FE002567-A93F-45C2-9AA6-DE2AEC8A3C7F}" type="pres">
      <dgm:prSet presAssocID="{CB18529F-FD38-409E-AA75-47E3AF8543BF}" presName="parTxOnlySpace" presStyleCnt="0"/>
      <dgm:spPr/>
    </dgm:pt>
    <dgm:pt modelId="{0DE6DE5B-7D55-4EC4-BA19-8AEBDEC2C63A}" type="pres">
      <dgm:prSet presAssocID="{D564C733-E4A7-40D1-B6B7-D1DEAD5DBA8F}" presName="parTxOnly" presStyleLbl="node1" presStyleIdx="2" presStyleCnt="5">
        <dgm:presLayoutVars>
          <dgm:chMax val="0"/>
          <dgm:chPref val="0"/>
          <dgm:bulletEnabled val="1"/>
        </dgm:presLayoutVars>
      </dgm:prSet>
      <dgm:spPr/>
    </dgm:pt>
    <dgm:pt modelId="{121DA89D-5CFC-4488-88EA-5023B1B7F2EB}" type="pres">
      <dgm:prSet presAssocID="{A2BD4E38-BAEF-49DC-BBC3-5748EC27F5A5}" presName="parTxOnlySpace" presStyleCnt="0"/>
      <dgm:spPr/>
    </dgm:pt>
    <dgm:pt modelId="{D2948D99-7D24-4420-A7C4-662BE7E5D9FD}" type="pres">
      <dgm:prSet presAssocID="{E0431448-426B-4482-96B1-3EAF6F6FDD58}" presName="parTxOnly" presStyleLbl="node1" presStyleIdx="3" presStyleCnt="5">
        <dgm:presLayoutVars>
          <dgm:chMax val="0"/>
          <dgm:chPref val="0"/>
          <dgm:bulletEnabled val="1"/>
        </dgm:presLayoutVars>
      </dgm:prSet>
      <dgm:spPr/>
    </dgm:pt>
    <dgm:pt modelId="{496FE87F-EE3E-45CB-8A74-7565ADC0A4A3}" type="pres">
      <dgm:prSet presAssocID="{B7F44DAF-C1DF-4949-835F-1C04EC63ABE4}" presName="parTxOnlySpace" presStyleCnt="0"/>
      <dgm:spPr/>
    </dgm:pt>
    <dgm:pt modelId="{C5446659-5C3A-410C-BFC6-F4BC38C662E1}" type="pres">
      <dgm:prSet presAssocID="{62BBCAB9-2727-497F-A0CA-FAB2D05D37E0}" presName="parTxOnly" presStyleLbl="node1" presStyleIdx="4" presStyleCnt="5">
        <dgm:presLayoutVars>
          <dgm:chMax val="0"/>
          <dgm:chPref val="0"/>
          <dgm:bulletEnabled val="1"/>
        </dgm:presLayoutVars>
      </dgm:prSet>
      <dgm:spPr/>
    </dgm:pt>
  </dgm:ptLst>
  <dgm:cxnLst>
    <dgm:cxn modelId="{7598B21C-C70B-4202-8531-A3A11C080F24}" srcId="{D374D569-6EE0-4BDA-8DEE-BC9961614EEB}" destId="{D564C733-E4A7-40D1-B6B7-D1DEAD5DBA8F}" srcOrd="2" destOrd="0" parTransId="{3784CE02-1E6C-487D-8A49-9A819519C2BB}" sibTransId="{A2BD4E38-BAEF-49DC-BBC3-5748EC27F5A5}"/>
    <dgm:cxn modelId="{4E2F2C39-623A-4AFE-B497-028273F18D0E}" type="presOf" srcId="{E0431448-426B-4482-96B1-3EAF6F6FDD58}" destId="{D2948D99-7D24-4420-A7C4-662BE7E5D9FD}" srcOrd="0" destOrd="0" presId="urn:microsoft.com/office/officeart/2005/8/layout/chevron1"/>
    <dgm:cxn modelId="{14C5BF44-A2F6-495B-845D-E93D5A1C016D}" srcId="{D374D569-6EE0-4BDA-8DEE-BC9961614EEB}" destId="{AC70DABB-7201-4C10-8AA8-7A95075EAA42}" srcOrd="0" destOrd="0" parTransId="{FCD71FED-B04F-48D8-AD8B-CFD7B65FC405}" sibTransId="{D34D16D8-3D05-4A53-923F-50F31AA9A0EF}"/>
    <dgm:cxn modelId="{900C2246-C997-4602-A179-CEF5D9C8F1B5}" type="presOf" srcId="{D564C733-E4A7-40D1-B6B7-D1DEAD5DBA8F}" destId="{0DE6DE5B-7D55-4EC4-BA19-8AEBDEC2C63A}" srcOrd="0" destOrd="0" presId="urn:microsoft.com/office/officeart/2005/8/layout/chevron1"/>
    <dgm:cxn modelId="{4AC0A47A-C825-422F-A3CA-0C628F142EF7}" type="presOf" srcId="{D374D569-6EE0-4BDA-8DEE-BC9961614EEB}" destId="{8453E9C7-D5ED-49C2-B2BB-18215AB5ED83}" srcOrd="0" destOrd="0" presId="urn:microsoft.com/office/officeart/2005/8/layout/chevron1"/>
    <dgm:cxn modelId="{DC66F67E-E2D0-4939-9161-955EF78F3133}" type="presOf" srcId="{1A6EAF52-F828-41C6-AEBA-4C90FB42ADA0}" destId="{FC3CF130-F108-4F32-ACED-5FFE75108CA7}" srcOrd="0" destOrd="0" presId="urn:microsoft.com/office/officeart/2005/8/layout/chevron1"/>
    <dgm:cxn modelId="{08CAB282-E7E3-4296-A217-4574443AE926}" srcId="{D374D569-6EE0-4BDA-8DEE-BC9961614EEB}" destId="{62BBCAB9-2727-497F-A0CA-FAB2D05D37E0}" srcOrd="4" destOrd="0" parTransId="{E0F045F8-B81F-4A9C-8984-6447C179B87C}" sibTransId="{16B1918E-64A1-445D-93DC-4FFFFCF8668E}"/>
    <dgm:cxn modelId="{DF0469A5-AF33-4EC7-8C5A-580550B40874}" type="presOf" srcId="{AC70DABB-7201-4C10-8AA8-7A95075EAA42}" destId="{8478FA2A-3CDA-450C-8ADF-D75C1A74A715}" srcOrd="0" destOrd="0" presId="urn:microsoft.com/office/officeart/2005/8/layout/chevron1"/>
    <dgm:cxn modelId="{C60BB2BD-778C-4DFA-987D-6E2CB2FBC37B}" srcId="{D374D569-6EE0-4BDA-8DEE-BC9961614EEB}" destId="{1A6EAF52-F828-41C6-AEBA-4C90FB42ADA0}" srcOrd="1" destOrd="0" parTransId="{166E5CB8-8617-4590-8EE1-A95C0527B25A}" sibTransId="{CB18529F-FD38-409E-AA75-47E3AF8543BF}"/>
    <dgm:cxn modelId="{1FE0C2F0-0898-4512-91CB-87A8EE0838B2}" type="presOf" srcId="{62BBCAB9-2727-497F-A0CA-FAB2D05D37E0}" destId="{C5446659-5C3A-410C-BFC6-F4BC38C662E1}" srcOrd="0" destOrd="0" presId="urn:microsoft.com/office/officeart/2005/8/layout/chevron1"/>
    <dgm:cxn modelId="{2162B8F2-BCDA-46DF-B645-E99BF79B1CF0}" srcId="{D374D569-6EE0-4BDA-8DEE-BC9961614EEB}" destId="{E0431448-426B-4482-96B1-3EAF6F6FDD58}" srcOrd="3" destOrd="0" parTransId="{34F745AF-B621-4A04-A484-3D3E6917F117}" sibTransId="{B7F44DAF-C1DF-4949-835F-1C04EC63ABE4}"/>
    <dgm:cxn modelId="{94BC01D7-EA48-4905-8845-900841B613F4}" type="presParOf" srcId="{8453E9C7-D5ED-49C2-B2BB-18215AB5ED83}" destId="{8478FA2A-3CDA-450C-8ADF-D75C1A74A715}" srcOrd="0" destOrd="0" presId="urn:microsoft.com/office/officeart/2005/8/layout/chevron1"/>
    <dgm:cxn modelId="{A781C238-8A34-4D4C-8D76-CF7113EEB333}" type="presParOf" srcId="{8453E9C7-D5ED-49C2-B2BB-18215AB5ED83}" destId="{00D4A6E6-F5DA-4F2D-8926-B957F04493A3}" srcOrd="1" destOrd="0" presId="urn:microsoft.com/office/officeart/2005/8/layout/chevron1"/>
    <dgm:cxn modelId="{220C7D86-9B7F-45EA-B8EF-0F84773BF7E0}" type="presParOf" srcId="{8453E9C7-D5ED-49C2-B2BB-18215AB5ED83}" destId="{FC3CF130-F108-4F32-ACED-5FFE75108CA7}" srcOrd="2" destOrd="0" presId="urn:microsoft.com/office/officeart/2005/8/layout/chevron1"/>
    <dgm:cxn modelId="{F1653964-3145-4CF0-AA05-B0E41BAFA93C}" type="presParOf" srcId="{8453E9C7-D5ED-49C2-B2BB-18215AB5ED83}" destId="{FE002567-A93F-45C2-9AA6-DE2AEC8A3C7F}" srcOrd="3" destOrd="0" presId="urn:microsoft.com/office/officeart/2005/8/layout/chevron1"/>
    <dgm:cxn modelId="{75A74870-C21F-40D1-91EB-F586A7334523}" type="presParOf" srcId="{8453E9C7-D5ED-49C2-B2BB-18215AB5ED83}" destId="{0DE6DE5B-7D55-4EC4-BA19-8AEBDEC2C63A}" srcOrd="4" destOrd="0" presId="urn:microsoft.com/office/officeart/2005/8/layout/chevron1"/>
    <dgm:cxn modelId="{86B71E7A-01D5-4A73-843B-895421916F77}" type="presParOf" srcId="{8453E9C7-D5ED-49C2-B2BB-18215AB5ED83}" destId="{121DA89D-5CFC-4488-88EA-5023B1B7F2EB}" srcOrd="5" destOrd="0" presId="urn:microsoft.com/office/officeart/2005/8/layout/chevron1"/>
    <dgm:cxn modelId="{395B1DAB-A563-4063-B486-D0EC9D273A48}" type="presParOf" srcId="{8453E9C7-D5ED-49C2-B2BB-18215AB5ED83}" destId="{D2948D99-7D24-4420-A7C4-662BE7E5D9FD}" srcOrd="6" destOrd="0" presId="urn:microsoft.com/office/officeart/2005/8/layout/chevron1"/>
    <dgm:cxn modelId="{768B3BB2-8369-430F-A4F9-A13D213E07EF}" type="presParOf" srcId="{8453E9C7-D5ED-49C2-B2BB-18215AB5ED83}" destId="{496FE87F-EE3E-45CB-8A74-7565ADC0A4A3}" srcOrd="7" destOrd="0" presId="urn:microsoft.com/office/officeart/2005/8/layout/chevron1"/>
    <dgm:cxn modelId="{DBC28A75-FCB2-4149-AD85-9225011E6E97}" type="presParOf" srcId="{8453E9C7-D5ED-49C2-B2BB-18215AB5ED83}" destId="{C5446659-5C3A-410C-BFC6-F4BC38C662E1}"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C8BCFB7-01E5-46BB-93C1-2FD4B7433C0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50CC0349-3F51-45DD-AF39-95985C577F90}">
      <dgm:prSet/>
      <dgm:spPr/>
      <dgm:t>
        <a:bodyPr/>
        <a:lstStyle/>
        <a:p>
          <a:r>
            <a:rPr lang="en-CA" dirty="0"/>
            <a:t>Python crash course</a:t>
          </a:r>
        </a:p>
      </dgm:t>
    </dgm:pt>
    <dgm:pt modelId="{1FBF8ACB-5AEC-4E48-AF05-B6E028035D6E}" type="parTrans" cxnId="{AFC9B4AB-8E0A-40D1-8417-6DEB038C42E1}">
      <dgm:prSet/>
      <dgm:spPr/>
      <dgm:t>
        <a:bodyPr/>
        <a:lstStyle/>
        <a:p>
          <a:endParaRPr lang="en-CA"/>
        </a:p>
      </dgm:t>
    </dgm:pt>
    <dgm:pt modelId="{7578F553-4DF0-4005-96C9-868023C41474}" type="sibTrans" cxnId="{AFC9B4AB-8E0A-40D1-8417-6DEB038C42E1}">
      <dgm:prSet/>
      <dgm:spPr/>
      <dgm:t>
        <a:bodyPr/>
        <a:lstStyle/>
        <a:p>
          <a:endParaRPr lang="en-CA"/>
        </a:p>
      </dgm:t>
    </dgm:pt>
    <dgm:pt modelId="{E1750098-77DA-4FD0-BDA9-861CA437868B}">
      <dgm:prSet/>
      <dgm:spPr/>
      <dgm:t>
        <a:bodyPr/>
        <a:lstStyle/>
        <a:p>
          <a:r>
            <a:rPr lang="en-CA"/>
            <a:t>Data analytics libraries</a:t>
          </a:r>
        </a:p>
      </dgm:t>
    </dgm:pt>
    <dgm:pt modelId="{00F1FA0B-CC90-41AE-A2ED-57DC3C559AF6}" type="parTrans" cxnId="{C1C1E4D3-D56F-4A24-8E58-25386FA1AD74}">
      <dgm:prSet/>
      <dgm:spPr/>
      <dgm:t>
        <a:bodyPr/>
        <a:lstStyle/>
        <a:p>
          <a:endParaRPr lang="en-CA"/>
        </a:p>
      </dgm:t>
    </dgm:pt>
    <dgm:pt modelId="{9A8AC54D-9FE9-4E50-9D03-D7D4288CE81F}" type="sibTrans" cxnId="{C1C1E4D3-D56F-4A24-8E58-25386FA1AD74}">
      <dgm:prSet/>
      <dgm:spPr/>
      <dgm:t>
        <a:bodyPr/>
        <a:lstStyle/>
        <a:p>
          <a:endParaRPr lang="en-CA"/>
        </a:p>
      </dgm:t>
    </dgm:pt>
    <dgm:pt modelId="{DDBEE0DB-F624-4EFF-A9C8-2A372A903408}">
      <dgm:prSet/>
      <dgm:spPr/>
      <dgm:t>
        <a:bodyPr/>
        <a:lstStyle/>
        <a:p>
          <a:r>
            <a:rPr lang="en-CA" dirty="0" err="1">
              <a:solidFill>
                <a:srgbClr val="FF0000"/>
              </a:solidFill>
            </a:rPr>
            <a:t>Numpy</a:t>
          </a:r>
          <a:endParaRPr lang="en-CA" dirty="0">
            <a:solidFill>
              <a:srgbClr val="FF0000"/>
            </a:solidFill>
          </a:endParaRPr>
        </a:p>
      </dgm:t>
    </dgm:pt>
    <dgm:pt modelId="{5C026B7B-6687-4315-8B14-0E6DEFA5E5C9}" type="parTrans" cxnId="{9841AD88-A08D-412C-8E93-F92B45D6E06D}">
      <dgm:prSet/>
      <dgm:spPr/>
      <dgm:t>
        <a:bodyPr/>
        <a:lstStyle/>
        <a:p>
          <a:endParaRPr lang="en-CA"/>
        </a:p>
      </dgm:t>
    </dgm:pt>
    <dgm:pt modelId="{13176257-3AD7-4C38-A18F-E81083B0B35B}" type="sibTrans" cxnId="{9841AD88-A08D-412C-8E93-F92B45D6E06D}">
      <dgm:prSet/>
      <dgm:spPr/>
      <dgm:t>
        <a:bodyPr/>
        <a:lstStyle/>
        <a:p>
          <a:endParaRPr lang="en-CA"/>
        </a:p>
      </dgm:t>
    </dgm:pt>
    <dgm:pt modelId="{74178CFB-3B87-4249-8116-94253A319133}">
      <dgm:prSet/>
      <dgm:spPr/>
      <dgm:t>
        <a:bodyPr/>
        <a:lstStyle/>
        <a:p>
          <a:r>
            <a:rPr lang="en-CA" dirty="0" err="1">
              <a:solidFill>
                <a:srgbClr val="FF0000"/>
              </a:solidFill>
            </a:rPr>
            <a:t>Scipy</a:t>
          </a:r>
          <a:endParaRPr lang="en-CA" dirty="0">
            <a:solidFill>
              <a:srgbClr val="FF0000"/>
            </a:solidFill>
          </a:endParaRPr>
        </a:p>
      </dgm:t>
    </dgm:pt>
    <dgm:pt modelId="{E1896658-EF9D-4C37-8880-CF6005C89E6A}" type="parTrans" cxnId="{1DDE14BD-29E7-4328-9968-509D010332CC}">
      <dgm:prSet/>
      <dgm:spPr/>
      <dgm:t>
        <a:bodyPr/>
        <a:lstStyle/>
        <a:p>
          <a:endParaRPr lang="en-CA"/>
        </a:p>
      </dgm:t>
    </dgm:pt>
    <dgm:pt modelId="{E78C339A-1A7C-402A-A9DC-33F347700FD0}" type="sibTrans" cxnId="{1DDE14BD-29E7-4328-9968-509D010332CC}">
      <dgm:prSet/>
      <dgm:spPr/>
      <dgm:t>
        <a:bodyPr/>
        <a:lstStyle/>
        <a:p>
          <a:endParaRPr lang="en-CA"/>
        </a:p>
      </dgm:t>
    </dgm:pt>
    <dgm:pt modelId="{811169DB-B980-4904-A8EA-05FB4DDBD0B1}">
      <dgm:prSet/>
      <dgm:spPr/>
      <dgm:t>
        <a:bodyPr/>
        <a:lstStyle/>
        <a:p>
          <a:r>
            <a:rPr lang="en-CA" dirty="0">
              <a:solidFill>
                <a:srgbClr val="FF0000"/>
              </a:solidFill>
            </a:rPr>
            <a:t>Pandas</a:t>
          </a:r>
        </a:p>
      </dgm:t>
    </dgm:pt>
    <dgm:pt modelId="{88885804-6DAE-4DC6-BFC3-F2B0B0B28E52}" type="parTrans" cxnId="{ACB9B61D-01D1-40AD-B567-EBC6E2BFF721}">
      <dgm:prSet/>
      <dgm:spPr/>
      <dgm:t>
        <a:bodyPr/>
        <a:lstStyle/>
        <a:p>
          <a:endParaRPr lang="en-CA"/>
        </a:p>
      </dgm:t>
    </dgm:pt>
    <dgm:pt modelId="{7A0F20F8-172C-4014-BC8C-1E9C401B3634}" type="sibTrans" cxnId="{ACB9B61D-01D1-40AD-B567-EBC6E2BFF721}">
      <dgm:prSet/>
      <dgm:spPr/>
      <dgm:t>
        <a:bodyPr/>
        <a:lstStyle/>
        <a:p>
          <a:endParaRPr lang="en-CA"/>
        </a:p>
      </dgm:t>
    </dgm:pt>
    <dgm:pt modelId="{799ED47F-B68A-44C3-B4B3-703A0AE784B5}">
      <dgm:prSet/>
      <dgm:spPr/>
      <dgm:t>
        <a:bodyPr/>
        <a:lstStyle/>
        <a:p>
          <a:r>
            <a:rPr lang="en-CA"/>
            <a:t>Data visualization libraries</a:t>
          </a:r>
        </a:p>
      </dgm:t>
    </dgm:pt>
    <dgm:pt modelId="{5A31898F-D0F0-45AA-B651-585397B26E63}" type="parTrans" cxnId="{EB32AD0E-0190-4B51-B404-130A031DC694}">
      <dgm:prSet/>
      <dgm:spPr/>
      <dgm:t>
        <a:bodyPr/>
        <a:lstStyle/>
        <a:p>
          <a:endParaRPr lang="en-CA"/>
        </a:p>
      </dgm:t>
    </dgm:pt>
    <dgm:pt modelId="{DFF2F897-DCBA-4D23-AE87-53BDCEE9A467}" type="sibTrans" cxnId="{EB32AD0E-0190-4B51-B404-130A031DC694}">
      <dgm:prSet/>
      <dgm:spPr/>
      <dgm:t>
        <a:bodyPr/>
        <a:lstStyle/>
        <a:p>
          <a:endParaRPr lang="en-CA"/>
        </a:p>
      </dgm:t>
    </dgm:pt>
    <dgm:pt modelId="{5A2986CE-A048-4068-B718-88B154C90C05}">
      <dgm:prSet/>
      <dgm:spPr/>
      <dgm:t>
        <a:bodyPr/>
        <a:lstStyle/>
        <a:p>
          <a:r>
            <a:rPr lang="en-CA"/>
            <a:t>Seaborn</a:t>
          </a:r>
        </a:p>
      </dgm:t>
    </dgm:pt>
    <dgm:pt modelId="{CAD6C82C-3CAD-4E61-8F4C-2A087EF63165}" type="parTrans" cxnId="{23801D17-1BEF-4267-8D6F-0F905AF63F99}">
      <dgm:prSet/>
      <dgm:spPr/>
      <dgm:t>
        <a:bodyPr/>
        <a:lstStyle/>
        <a:p>
          <a:endParaRPr lang="en-CA"/>
        </a:p>
      </dgm:t>
    </dgm:pt>
    <dgm:pt modelId="{4AA5404B-BE18-4CF4-8355-5D26507B5C28}" type="sibTrans" cxnId="{23801D17-1BEF-4267-8D6F-0F905AF63F99}">
      <dgm:prSet/>
      <dgm:spPr/>
      <dgm:t>
        <a:bodyPr/>
        <a:lstStyle/>
        <a:p>
          <a:endParaRPr lang="en-CA"/>
        </a:p>
      </dgm:t>
    </dgm:pt>
    <dgm:pt modelId="{AD899E07-7EBC-437E-A51C-81867F22FA4D}">
      <dgm:prSet/>
      <dgm:spPr/>
      <dgm:t>
        <a:bodyPr/>
        <a:lstStyle/>
        <a:p>
          <a:r>
            <a:rPr lang="en-CA" dirty="0">
              <a:solidFill>
                <a:srgbClr val="FF0000"/>
              </a:solidFill>
            </a:rPr>
            <a:t>Matplotlib</a:t>
          </a:r>
        </a:p>
      </dgm:t>
    </dgm:pt>
    <dgm:pt modelId="{B50E1843-3D69-42C1-A1C4-1231FEB9D032}" type="parTrans" cxnId="{839CF887-72A1-4D56-A18C-88FD20C8AE03}">
      <dgm:prSet/>
      <dgm:spPr/>
      <dgm:t>
        <a:bodyPr/>
        <a:lstStyle/>
        <a:p>
          <a:endParaRPr lang="en-CA"/>
        </a:p>
      </dgm:t>
    </dgm:pt>
    <dgm:pt modelId="{7DD9786D-9E0F-4D5A-89A6-9A5B2286CEB2}" type="sibTrans" cxnId="{839CF887-72A1-4D56-A18C-88FD20C8AE03}">
      <dgm:prSet/>
      <dgm:spPr/>
      <dgm:t>
        <a:bodyPr/>
        <a:lstStyle/>
        <a:p>
          <a:endParaRPr lang="en-CA"/>
        </a:p>
      </dgm:t>
    </dgm:pt>
    <dgm:pt modelId="{FA2A3042-19E8-40F2-A1FF-DA50A6AE0E55}">
      <dgm:prSet/>
      <dgm:spPr/>
      <dgm:t>
        <a:bodyPr/>
        <a:lstStyle/>
        <a:p>
          <a:r>
            <a:rPr lang="en-CA" dirty="0" err="1"/>
            <a:t>PyPlot</a:t>
          </a:r>
          <a:endParaRPr lang="en-CA" dirty="0"/>
        </a:p>
      </dgm:t>
    </dgm:pt>
    <dgm:pt modelId="{12460690-481B-455B-9AF7-423E3B90C7EA}" type="parTrans" cxnId="{D53489DB-5C14-4DDC-B95E-464B0B5B4906}">
      <dgm:prSet/>
      <dgm:spPr/>
      <dgm:t>
        <a:bodyPr/>
        <a:lstStyle/>
        <a:p>
          <a:endParaRPr lang="en-CA"/>
        </a:p>
      </dgm:t>
    </dgm:pt>
    <dgm:pt modelId="{4FA48E8A-0A35-4441-8DD0-54D06B4357B6}" type="sibTrans" cxnId="{D53489DB-5C14-4DDC-B95E-464B0B5B4906}">
      <dgm:prSet/>
      <dgm:spPr/>
      <dgm:t>
        <a:bodyPr/>
        <a:lstStyle/>
        <a:p>
          <a:endParaRPr lang="en-CA"/>
        </a:p>
      </dgm:t>
    </dgm:pt>
    <dgm:pt modelId="{DE1CD024-F9D3-4715-AB4B-B061E02C16AC}">
      <dgm:prSet/>
      <dgm:spPr/>
      <dgm:t>
        <a:bodyPr/>
        <a:lstStyle/>
        <a:p>
          <a:r>
            <a:rPr lang="en-CA"/>
            <a:t>Cufflinks</a:t>
          </a:r>
        </a:p>
      </dgm:t>
    </dgm:pt>
    <dgm:pt modelId="{FD23C1D0-A784-45FD-9CD8-548B01640B0E}" type="parTrans" cxnId="{DEF14E42-5EAA-4AF9-9FD7-D88A02A8EFDE}">
      <dgm:prSet/>
      <dgm:spPr/>
      <dgm:t>
        <a:bodyPr/>
        <a:lstStyle/>
        <a:p>
          <a:endParaRPr lang="en-CA"/>
        </a:p>
      </dgm:t>
    </dgm:pt>
    <dgm:pt modelId="{FD08CAFB-789C-460E-80D6-7DA29379B4EF}" type="sibTrans" cxnId="{DEF14E42-5EAA-4AF9-9FD7-D88A02A8EFDE}">
      <dgm:prSet/>
      <dgm:spPr/>
      <dgm:t>
        <a:bodyPr/>
        <a:lstStyle/>
        <a:p>
          <a:endParaRPr lang="en-CA"/>
        </a:p>
      </dgm:t>
    </dgm:pt>
    <dgm:pt modelId="{0BA72542-AEB6-40EA-9B3F-433C13F96E50}">
      <dgm:prSet/>
      <dgm:spPr/>
      <dgm:t>
        <a:bodyPr/>
        <a:lstStyle/>
        <a:p>
          <a:r>
            <a:rPr lang="en-CA"/>
            <a:t>Machine learning libraries</a:t>
          </a:r>
        </a:p>
      </dgm:t>
    </dgm:pt>
    <dgm:pt modelId="{A6DF950C-1CB7-42DE-97BF-2EEE4F29FBE6}" type="parTrans" cxnId="{48910628-1988-4127-8EB3-466CD423F195}">
      <dgm:prSet/>
      <dgm:spPr/>
      <dgm:t>
        <a:bodyPr/>
        <a:lstStyle/>
        <a:p>
          <a:endParaRPr lang="en-CA"/>
        </a:p>
      </dgm:t>
    </dgm:pt>
    <dgm:pt modelId="{4A69D4BA-B03D-4937-B715-D7F003770D08}" type="sibTrans" cxnId="{48910628-1988-4127-8EB3-466CD423F195}">
      <dgm:prSet/>
      <dgm:spPr/>
      <dgm:t>
        <a:bodyPr/>
        <a:lstStyle/>
        <a:p>
          <a:endParaRPr lang="en-CA"/>
        </a:p>
      </dgm:t>
    </dgm:pt>
    <dgm:pt modelId="{8E17F32C-CB71-4D94-A7D7-C28D8CFC520F}">
      <dgm:prSet/>
      <dgm:spPr/>
      <dgm:t>
        <a:bodyPr/>
        <a:lstStyle/>
        <a:p>
          <a:r>
            <a:rPr lang="en-CA" dirty="0" err="1">
              <a:solidFill>
                <a:srgbClr val="FF0000"/>
              </a:solidFill>
            </a:rPr>
            <a:t>Scikit</a:t>
          </a:r>
          <a:r>
            <a:rPr lang="en-CA" dirty="0">
              <a:solidFill>
                <a:srgbClr val="FF0000"/>
              </a:solidFill>
            </a:rPr>
            <a:t>-learn</a:t>
          </a:r>
        </a:p>
      </dgm:t>
    </dgm:pt>
    <dgm:pt modelId="{88EC399F-0C87-4A85-86EB-F090775E6E3D}" type="parTrans" cxnId="{8742FC61-ED55-4EC2-BA66-FB5A799BDEB6}">
      <dgm:prSet/>
      <dgm:spPr/>
      <dgm:t>
        <a:bodyPr/>
        <a:lstStyle/>
        <a:p>
          <a:endParaRPr lang="en-CA"/>
        </a:p>
      </dgm:t>
    </dgm:pt>
    <dgm:pt modelId="{BBBA017C-3BB2-4B46-ACEA-D72AF45C2F83}" type="sibTrans" cxnId="{8742FC61-ED55-4EC2-BA66-FB5A799BDEB6}">
      <dgm:prSet/>
      <dgm:spPr/>
      <dgm:t>
        <a:bodyPr/>
        <a:lstStyle/>
        <a:p>
          <a:endParaRPr lang="en-CA"/>
        </a:p>
      </dgm:t>
    </dgm:pt>
    <dgm:pt modelId="{4D6A306A-E3E2-4D84-84BD-B02DD240596C}">
      <dgm:prSet/>
      <dgm:spPr/>
      <dgm:t>
        <a:bodyPr/>
        <a:lstStyle/>
        <a:p>
          <a:r>
            <a:rPr lang="en-CA" dirty="0"/>
            <a:t>H2O</a:t>
          </a:r>
        </a:p>
      </dgm:t>
    </dgm:pt>
    <dgm:pt modelId="{8F456A50-9F75-45CC-ABE4-F479698710D9}" type="parTrans" cxnId="{EABBE036-9F03-41B5-AFC6-F992690A0579}">
      <dgm:prSet/>
      <dgm:spPr/>
      <dgm:t>
        <a:bodyPr/>
        <a:lstStyle/>
        <a:p>
          <a:endParaRPr lang="en-CA"/>
        </a:p>
      </dgm:t>
    </dgm:pt>
    <dgm:pt modelId="{1EF17B15-4723-44E9-BF04-D13553B9EB20}" type="sibTrans" cxnId="{EABBE036-9F03-41B5-AFC6-F992690A0579}">
      <dgm:prSet/>
      <dgm:spPr/>
      <dgm:t>
        <a:bodyPr/>
        <a:lstStyle/>
        <a:p>
          <a:endParaRPr lang="en-CA"/>
        </a:p>
      </dgm:t>
    </dgm:pt>
    <dgm:pt modelId="{EF3DB43E-44B1-4F1D-9466-60D41D964F91}">
      <dgm:prSet/>
      <dgm:spPr/>
      <dgm:t>
        <a:bodyPr/>
        <a:lstStyle/>
        <a:p>
          <a:r>
            <a:rPr lang="en-CA" dirty="0" err="1">
              <a:solidFill>
                <a:srgbClr val="FF0000"/>
              </a:solidFill>
            </a:rPr>
            <a:t>Tensorflow</a:t>
          </a:r>
          <a:endParaRPr lang="en-CA" dirty="0">
            <a:solidFill>
              <a:srgbClr val="FF0000"/>
            </a:solidFill>
          </a:endParaRPr>
        </a:p>
      </dgm:t>
    </dgm:pt>
    <dgm:pt modelId="{0AF96F6F-76A1-40D2-A452-8ACFA3A08CE2}" type="parTrans" cxnId="{1B7EA740-6618-49E1-A461-E2C23402FB39}">
      <dgm:prSet/>
      <dgm:spPr/>
      <dgm:t>
        <a:bodyPr/>
        <a:lstStyle/>
        <a:p>
          <a:endParaRPr lang="en-CA"/>
        </a:p>
      </dgm:t>
    </dgm:pt>
    <dgm:pt modelId="{D4EC5E46-0B45-48F4-AD8B-3CD682E740B0}" type="sibTrans" cxnId="{1B7EA740-6618-49E1-A461-E2C23402FB39}">
      <dgm:prSet/>
      <dgm:spPr/>
      <dgm:t>
        <a:bodyPr/>
        <a:lstStyle/>
        <a:p>
          <a:endParaRPr lang="en-CA"/>
        </a:p>
      </dgm:t>
    </dgm:pt>
    <dgm:pt modelId="{10AC23AB-416A-4A2A-BF74-2B8855BEF082}">
      <dgm:prSet/>
      <dgm:spPr/>
      <dgm:t>
        <a:bodyPr/>
        <a:lstStyle/>
        <a:p>
          <a:r>
            <a:rPr lang="en-CA" dirty="0" err="1"/>
            <a:t>PyTorch</a:t>
          </a:r>
          <a:endParaRPr lang="en-CA" dirty="0"/>
        </a:p>
      </dgm:t>
    </dgm:pt>
    <dgm:pt modelId="{B8A8CD65-39AF-42F8-AE8D-0EFA7CC32FA5}" type="parTrans" cxnId="{9F94D5FC-0236-4817-9790-ECDD0FDD63F8}">
      <dgm:prSet/>
      <dgm:spPr/>
      <dgm:t>
        <a:bodyPr/>
        <a:lstStyle/>
        <a:p>
          <a:endParaRPr lang="en-CA"/>
        </a:p>
      </dgm:t>
    </dgm:pt>
    <dgm:pt modelId="{AFE3BDE7-7003-4C44-9A81-6D50CD6C1600}" type="sibTrans" cxnId="{9F94D5FC-0236-4817-9790-ECDD0FDD63F8}">
      <dgm:prSet/>
      <dgm:spPr/>
      <dgm:t>
        <a:bodyPr/>
        <a:lstStyle/>
        <a:p>
          <a:endParaRPr lang="en-CA"/>
        </a:p>
      </dgm:t>
    </dgm:pt>
    <dgm:pt modelId="{886FE059-7B08-469B-8F45-8CDB554E68E1}">
      <dgm:prSet/>
      <dgm:spPr/>
      <dgm:t>
        <a:bodyPr/>
        <a:lstStyle/>
        <a:p>
          <a:r>
            <a:rPr lang="en-CA" dirty="0"/>
            <a:t>Objects and classes</a:t>
          </a:r>
        </a:p>
      </dgm:t>
    </dgm:pt>
    <dgm:pt modelId="{19B0FA09-7035-460B-8A2E-97C2BBC7646D}" type="parTrans" cxnId="{24E511D5-CA52-41F8-A773-E4CA44F73AFD}">
      <dgm:prSet/>
      <dgm:spPr/>
      <dgm:t>
        <a:bodyPr/>
        <a:lstStyle/>
        <a:p>
          <a:endParaRPr lang="en-CA"/>
        </a:p>
      </dgm:t>
    </dgm:pt>
    <dgm:pt modelId="{BC9A9671-F879-4EC6-85A6-59FB2ACE5E3C}" type="sibTrans" cxnId="{24E511D5-CA52-41F8-A773-E4CA44F73AFD}">
      <dgm:prSet/>
      <dgm:spPr/>
      <dgm:t>
        <a:bodyPr/>
        <a:lstStyle/>
        <a:p>
          <a:endParaRPr lang="en-CA"/>
        </a:p>
      </dgm:t>
    </dgm:pt>
    <dgm:pt modelId="{2E005A51-4BC4-43E0-9CF9-B91685116CD8}">
      <dgm:prSet/>
      <dgm:spPr/>
      <dgm:t>
        <a:bodyPr/>
        <a:lstStyle/>
        <a:p>
          <a:r>
            <a:rPr lang="en-CA" dirty="0"/>
            <a:t>Data elements</a:t>
          </a:r>
        </a:p>
      </dgm:t>
    </dgm:pt>
    <dgm:pt modelId="{FB47CB00-8356-49DF-8706-1F26B274494C}" type="parTrans" cxnId="{98EFBD0E-8AFF-4364-B351-E9FF50BFF335}">
      <dgm:prSet/>
      <dgm:spPr/>
      <dgm:t>
        <a:bodyPr/>
        <a:lstStyle/>
        <a:p>
          <a:endParaRPr lang="en-CA"/>
        </a:p>
      </dgm:t>
    </dgm:pt>
    <dgm:pt modelId="{B9F121E9-1779-45E9-A448-BE78863ED24D}" type="sibTrans" cxnId="{98EFBD0E-8AFF-4364-B351-E9FF50BFF335}">
      <dgm:prSet/>
      <dgm:spPr/>
      <dgm:t>
        <a:bodyPr/>
        <a:lstStyle/>
        <a:p>
          <a:endParaRPr lang="en-CA"/>
        </a:p>
      </dgm:t>
    </dgm:pt>
    <dgm:pt modelId="{F350E83D-5398-425B-A589-888FFEEB6382}">
      <dgm:prSet/>
      <dgm:spPr/>
      <dgm:t>
        <a:bodyPr/>
        <a:lstStyle/>
        <a:p>
          <a:r>
            <a:rPr lang="en-CA" dirty="0"/>
            <a:t>Functions &amp; methods</a:t>
          </a:r>
        </a:p>
      </dgm:t>
    </dgm:pt>
    <dgm:pt modelId="{6638EEB2-D681-4E5E-81E9-29A35993E924}" type="parTrans" cxnId="{21DBEDB7-A90C-4B9D-BA2E-1091A7540452}">
      <dgm:prSet/>
      <dgm:spPr/>
      <dgm:t>
        <a:bodyPr/>
        <a:lstStyle/>
        <a:p>
          <a:endParaRPr lang="en-CA"/>
        </a:p>
      </dgm:t>
    </dgm:pt>
    <dgm:pt modelId="{47202701-5FA6-49C7-82D4-A65D241338F5}" type="sibTrans" cxnId="{21DBEDB7-A90C-4B9D-BA2E-1091A7540452}">
      <dgm:prSet/>
      <dgm:spPr/>
      <dgm:t>
        <a:bodyPr/>
        <a:lstStyle/>
        <a:p>
          <a:endParaRPr lang="en-CA"/>
        </a:p>
      </dgm:t>
    </dgm:pt>
    <dgm:pt modelId="{5DA99890-2DC8-414D-9819-B3D7A026224F}">
      <dgm:prSet/>
      <dgm:spPr/>
      <dgm:t>
        <a:bodyPr/>
        <a:lstStyle/>
        <a:p>
          <a:r>
            <a:rPr lang="en-CA" dirty="0"/>
            <a:t>Applications and packages</a:t>
          </a:r>
        </a:p>
      </dgm:t>
    </dgm:pt>
    <dgm:pt modelId="{AD530751-6768-48D4-A243-844EA4831534}" type="parTrans" cxnId="{21500514-9F8E-4514-9420-74B5580951E0}">
      <dgm:prSet/>
      <dgm:spPr/>
      <dgm:t>
        <a:bodyPr/>
        <a:lstStyle/>
        <a:p>
          <a:endParaRPr lang="en-CA"/>
        </a:p>
      </dgm:t>
    </dgm:pt>
    <dgm:pt modelId="{FC4AA6B5-A5A5-45D3-8C3E-04B7B7325A85}" type="sibTrans" cxnId="{21500514-9F8E-4514-9420-74B5580951E0}">
      <dgm:prSet/>
      <dgm:spPr/>
      <dgm:t>
        <a:bodyPr/>
        <a:lstStyle/>
        <a:p>
          <a:endParaRPr lang="en-CA"/>
        </a:p>
      </dgm:t>
    </dgm:pt>
    <dgm:pt modelId="{74282BA4-3591-8440-A4AE-91F14296D63D}">
      <dgm:prSet/>
      <dgm:spPr/>
      <dgm:t>
        <a:bodyPr/>
        <a:lstStyle/>
        <a:p>
          <a:pPr rtl="0"/>
          <a:r>
            <a:rPr lang="en-CA" dirty="0" err="1">
              <a:solidFill>
                <a:srgbClr val="FF0000"/>
              </a:solidFill>
            </a:rPr>
            <a:t>Keras</a:t>
          </a:r>
          <a:endParaRPr lang="en-CA" dirty="0">
            <a:solidFill>
              <a:srgbClr val="FF0000"/>
            </a:solidFill>
          </a:endParaRPr>
        </a:p>
      </dgm:t>
    </dgm:pt>
    <dgm:pt modelId="{D98F91A1-CCA4-8044-9901-5ECB7865D27D}" type="parTrans" cxnId="{69C61F7E-E20E-B940-9BD1-6FC2D668C3DB}">
      <dgm:prSet/>
      <dgm:spPr/>
      <dgm:t>
        <a:bodyPr/>
        <a:lstStyle/>
        <a:p>
          <a:endParaRPr lang="en-US"/>
        </a:p>
      </dgm:t>
    </dgm:pt>
    <dgm:pt modelId="{52F8E440-B89C-C04E-A7A4-C8A66D7D1915}" type="sibTrans" cxnId="{69C61F7E-E20E-B940-9BD1-6FC2D668C3DB}">
      <dgm:prSet/>
      <dgm:spPr/>
      <dgm:t>
        <a:bodyPr/>
        <a:lstStyle/>
        <a:p>
          <a:endParaRPr lang="en-US"/>
        </a:p>
      </dgm:t>
    </dgm:pt>
    <dgm:pt modelId="{4B8C063B-9EF6-4DC8-9954-AD98DD729769}" type="pres">
      <dgm:prSet presAssocID="{0C8BCFB7-01E5-46BB-93C1-2FD4B7433C00}" presName="diagram" presStyleCnt="0">
        <dgm:presLayoutVars>
          <dgm:dir/>
          <dgm:resizeHandles val="exact"/>
        </dgm:presLayoutVars>
      </dgm:prSet>
      <dgm:spPr/>
    </dgm:pt>
    <dgm:pt modelId="{713D9448-E328-4F6A-8A59-9104D555764F}" type="pres">
      <dgm:prSet presAssocID="{50CC0349-3F51-45DD-AF39-95985C577F90}" presName="node" presStyleLbl="node1" presStyleIdx="0" presStyleCnt="4">
        <dgm:presLayoutVars>
          <dgm:bulletEnabled val="1"/>
        </dgm:presLayoutVars>
      </dgm:prSet>
      <dgm:spPr/>
    </dgm:pt>
    <dgm:pt modelId="{CBCD5ED3-3181-4F49-BFEC-3D7C5ABC76C7}" type="pres">
      <dgm:prSet presAssocID="{7578F553-4DF0-4005-96C9-868023C41474}" presName="sibTrans" presStyleCnt="0"/>
      <dgm:spPr/>
    </dgm:pt>
    <dgm:pt modelId="{E1949051-0536-45DA-94CC-84E94F4B9FCE}" type="pres">
      <dgm:prSet presAssocID="{E1750098-77DA-4FD0-BDA9-861CA437868B}" presName="node" presStyleLbl="node1" presStyleIdx="1" presStyleCnt="4">
        <dgm:presLayoutVars>
          <dgm:bulletEnabled val="1"/>
        </dgm:presLayoutVars>
      </dgm:prSet>
      <dgm:spPr/>
    </dgm:pt>
    <dgm:pt modelId="{41C9B2D2-2BC3-4739-AB0A-55D5B898A66E}" type="pres">
      <dgm:prSet presAssocID="{9A8AC54D-9FE9-4E50-9D03-D7D4288CE81F}" presName="sibTrans" presStyleCnt="0"/>
      <dgm:spPr/>
    </dgm:pt>
    <dgm:pt modelId="{29FC9AEB-CF88-447A-90A4-A0CD965245BF}" type="pres">
      <dgm:prSet presAssocID="{799ED47F-B68A-44C3-B4B3-703A0AE784B5}" presName="node" presStyleLbl="node1" presStyleIdx="2" presStyleCnt="4">
        <dgm:presLayoutVars>
          <dgm:bulletEnabled val="1"/>
        </dgm:presLayoutVars>
      </dgm:prSet>
      <dgm:spPr/>
    </dgm:pt>
    <dgm:pt modelId="{20C92CC2-44EF-4358-A253-76C6D42A8F53}" type="pres">
      <dgm:prSet presAssocID="{DFF2F897-DCBA-4D23-AE87-53BDCEE9A467}" presName="sibTrans" presStyleCnt="0"/>
      <dgm:spPr/>
    </dgm:pt>
    <dgm:pt modelId="{68F3DE5B-6702-462E-9A98-9DF4F1198E3F}" type="pres">
      <dgm:prSet presAssocID="{0BA72542-AEB6-40EA-9B3F-433C13F96E50}" presName="node" presStyleLbl="node1" presStyleIdx="3" presStyleCnt="4">
        <dgm:presLayoutVars>
          <dgm:bulletEnabled val="1"/>
        </dgm:presLayoutVars>
      </dgm:prSet>
      <dgm:spPr/>
    </dgm:pt>
  </dgm:ptLst>
  <dgm:cxnLst>
    <dgm:cxn modelId="{DA9DF80A-D130-4BCA-A686-A59264268AD8}" type="presOf" srcId="{50CC0349-3F51-45DD-AF39-95985C577F90}" destId="{713D9448-E328-4F6A-8A59-9104D555764F}" srcOrd="0" destOrd="0" presId="urn:microsoft.com/office/officeart/2005/8/layout/default"/>
    <dgm:cxn modelId="{EB32AD0E-0190-4B51-B404-130A031DC694}" srcId="{0C8BCFB7-01E5-46BB-93C1-2FD4B7433C00}" destId="{799ED47F-B68A-44C3-B4B3-703A0AE784B5}" srcOrd="2" destOrd="0" parTransId="{5A31898F-D0F0-45AA-B651-585397B26E63}" sibTransId="{DFF2F897-DCBA-4D23-AE87-53BDCEE9A467}"/>
    <dgm:cxn modelId="{98EFBD0E-8AFF-4364-B351-E9FF50BFF335}" srcId="{50CC0349-3F51-45DD-AF39-95985C577F90}" destId="{2E005A51-4BC4-43E0-9CF9-B91685116CD8}" srcOrd="1" destOrd="0" parTransId="{FB47CB00-8356-49DF-8706-1F26B274494C}" sibTransId="{B9F121E9-1779-45E9-A448-BE78863ED24D}"/>
    <dgm:cxn modelId="{21500514-9F8E-4514-9420-74B5580951E0}" srcId="{50CC0349-3F51-45DD-AF39-95985C577F90}" destId="{5DA99890-2DC8-414D-9819-B3D7A026224F}" srcOrd="3" destOrd="0" parTransId="{AD530751-6768-48D4-A243-844EA4831534}" sibTransId="{FC4AA6B5-A5A5-45D3-8C3E-04B7B7325A85}"/>
    <dgm:cxn modelId="{23801D17-1BEF-4267-8D6F-0F905AF63F99}" srcId="{799ED47F-B68A-44C3-B4B3-703A0AE784B5}" destId="{5A2986CE-A048-4068-B718-88B154C90C05}" srcOrd="0" destOrd="0" parTransId="{CAD6C82C-3CAD-4E61-8F4C-2A087EF63165}" sibTransId="{4AA5404B-BE18-4CF4-8355-5D26507B5C28}"/>
    <dgm:cxn modelId="{A91FA91B-0878-4279-96BB-2FB5D1B25019}" type="presOf" srcId="{811169DB-B980-4904-A8EA-05FB4DDBD0B1}" destId="{E1949051-0536-45DA-94CC-84E94F4B9FCE}" srcOrd="0" destOrd="3" presId="urn:microsoft.com/office/officeart/2005/8/layout/default"/>
    <dgm:cxn modelId="{ACB9B61D-01D1-40AD-B567-EBC6E2BFF721}" srcId="{E1750098-77DA-4FD0-BDA9-861CA437868B}" destId="{811169DB-B980-4904-A8EA-05FB4DDBD0B1}" srcOrd="2" destOrd="0" parTransId="{88885804-6DAE-4DC6-BFC3-F2B0B0B28E52}" sibTransId="{7A0F20F8-172C-4014-BC8C-1E9C401B3634}"/>
    <dgm:cxn modelId="{7B4ACF27-AF92-49DA-B3A9-DD6536F62ED2}" type="presOf" srcId="{0BA72542-AEB6-40EA-9B3F-433C13F96E50}" destId="{68F3DE5B-6702-462E-9A98-9DF4F1198E3F}" srcOrd="0" destOrd="0" presId="urn:microsoft.com/office/officeart/2005/8/layout/default"/>
    <dgm:cxn modelId="{48910628-1988-4127-8EB3-466CD423F195}" srcId="{0C8BCFB7-01E5-46BB-93C1-2FD4B7433C00}" destId="{0BA72542-AEB6-40EA-9B3F-433C13F96E50}" srcOrd="3" destOrd="0" parTransId="{A6DF950C-1CB7-42DE-97BF-2EEE4F29FBE6}" sibTransId="{4A69D4BA-B03D-4937-B715-D7F003770D08}"/>
    <dgm:cxn modelId="{3426D033-34AE-4DC9-BD05-719F49F856B0}" type="presOf" srcId="{E1750098-77DA-4FD0-BDA9-861CA437868B}" destId="{E1949051-0536-45DA-94CC-84E94F4B9FCE}" srcOrd="0" destOrd="0" presId="urn:microsoft.com/office/officeart/2005/8/layout/default"/>
    <dgm:cxn modelId="{EABBE036-9F03-41B5-AFC6-F992690A0579}" srcId="{0BA72542-AEB6-40EA-9B3F-433C13F96E50}" destId="{4D6A306A-E3E2-4D84-84BD-B02DD240596C}" srcOrd="1" destOrd="0" parTransId="{8F456A50-9F75-45CC-ABE4-F479698710D9}" sibTransId="{1EF17B15-4723-44E9-BF04-D13553B9EB20}"/>
    <dgm:cxn modelId="{B658A838-1557-46D8-A4E0-25A4A9AD364F}" type="presOf" srcId="{4D6A306A-E3E2-4D84-84BD-B02DD240596C}" destId="{68F3DE5B-6702-462E-9A98-9DF4F1198E3F}" srcOrd="0" destOrd="2" presId="urn:microsoft.com/office/officeart/2005/8/layout/default"/>
    <dgm:cxn modelId="{1B7EA740-6618-49E1-A461-E2C23402FB39}" srcId="{0BA72542-AEB6-40EA-9B3F-433C13F96E50}" destId="{EF3DB43E-44B1-4F1D-9466-60D41D964F91}" srcOrd="3" destOrd="0" parTransId="{0AF96F6F-76A1-40D2-A452-8ACFA3A08CE2}" sibTransId="{D4EC5E46-0B45-48F4-AD8B-3CD682E740B0}"/>
    <dgm:cxn modelId="{DEF14E42-5EAA-4AF9-9FD7-D88A02A8EFDE}" srcId="{799ED47F-B68A-44C3-B4B3-703A0AE784B5}" destId="{DE1CD024-F9D3-4715-AB4B-B061E02C16AC}" srcOrd="3" destOrd="0" parTransId="{FD23C1D0-A784-45FD-9CD8-548B01640B0E}" sibTransId="{FD08CAFB-789C-460E-80D6-7DA29379B4EF}"/>
    <dgm:cxn modelId="{C8A4B754-F012-41BD-AE90-CA49DDC310C2}" type="presOf" srcId="{5DA99890-2DC8-414D-9819-B3D7A026224F}" destId="{713D9448-E328-4F6A-8A59-9104D555764F}" srcOrd="0" destOrd="4" presId="urn:microsoft.com/office/officeart/2005/8/layout/default"/>
    <dgm:cxn modelId="{8742FC61-ED55-4EC2-BA66-FB5A799BDEB6}" srcId="{0BA72542-AEB6-40EA-9B3F-433C13F96E50}" destId="{8E17F32C-CB71-4D94-A7D7-C28D8CFC520F}" srcOrd="0" destOrd="0" parTransId="{88EC399F-0C87-4A85-86EB-F090775E6E3D}" sibTransId="{BBBA017C-3BB2-4B46-ACEA-D72AF45C2F83}"/>
    <dgm:cxn modelId="{C0AAE56F-F370-4C17-A6BC-24D4612BFB1A}" type="presOf" srcId="{DDBEE0DB-F624-4EFF-A9C8-2A372A903408}" destId="{E1949051-0536-45DA-94CC-84E94F4B9FCE}" srcOrd="0" destOrd="1" presId="urn:microsoft.com/office/officeart/2005/8/layout/default"/>
    <dgm:cxn modelId="{48934075-426A-E04A-ADD9-DAFE0A4CE7B7}" type="presOf" srcId="{74282BA4-3591-8440-A4AE-91F14296D63D}" destId="{68F3DE5B-6702-462E-9A98-9DF4F1198E3F}" srcOrd="0" destOrd="5" presId="urn:microsoft.com/office/officeart/2005/8/layout/default"/>
    <dgm:cxn modelId="{72D3C276-13C2-4087-89A8-F44E975B1B54}" type="presOf" srcId="{DE1CD024-F9D3-4715-AB4B-B061E02C16AC}" destId="{29FC9AEB-CF88-447A-90A4-A0CD965245BF}" srcOrd="0" destOrd="4" presId="urn:microsoft.com/office/officeart/2005/8/layout/default"/>
    <dgm:cxn modelId="{63871D7C-5B72-466A-8A44-8ADE73EA9D69}" type="presOf" srcId="{F350E83D-5398-425B-A589-888FFEEB6382}" destId="{713D9448-E328-4F6A-8A59-9104D555764F}" srcOrd="0" destOrd="3" presId="urn:microsoft.com/office/officeart/2005/8/layout/default"/>
    <dgm:cxn modelId="{69C61F7E-E20E-B940-9BD1-6FC2D668C3DB}" srcId="{0BA72542-AEB6-40EA-9B3F-433C13F96E50}" destId="{74282BA4-3591-8440-A4AE-91F14296D63D}" srcOrd="4" destOrd="0" parTransId="{D98F91A1-CCA4-8044-9901-5ECB7865D27D}" sibTransId="{52F8E440-B89C-C04E-A7A4-C8A66D7D1915}"/>
    <dgm:cxn modelId="{FDE1F67E-B46F-4389-8CF8-9FCE0D474560}" type="presOf" srcId="{10AC23AB-416A-4A2A-BF74-2B8855BEF082}" destId="{68F3DE5B-6702-462E-9A98-9DF4F1198E3F}" srcOrd="0" destOrd="3" presId="urn:microsoft.com/office/officeart/2005/8/layout/default"/>
    <dgm:cxn modelId="{839CF887-72A1-4D56-A18C-88FD20C8AE03}" srcId="{799ED47F-B68A-44C3-B4B3-703A0AE784B5}" destId="{AD899E07-7EBC-437E-A51C-81867F22FA4D}" srcOrd="1" destOrd="0" parTransId="{B50E1843-3D69-42C1-A1C4-1231FEB9D032}" sibTransId="{7DD9786D-9E0F-4D5A-89A6-9A5B2286CEB2}"/>
    <dgm:cxn modelId="{9841AD88-A08D-412C-8E93-F92B45D6E06D}" srcId="{E1750098-77DA-4FD0-BDA9-861CA437868B}" destId="{DDBEE0DB-F624-4EFF-A9C8-2A372A903408}" srcOrd="0" destOrd="0" parTransId="{5C026B7B-6687-4315-8B14-0E6DEFA5E5C9}" sibTransId="{13176257-3AD7-4C38-A18F-E81083B0B35B}"/>
    <dgm:cxn modelId="{CD88D58A-A61D-4F0C-9C23-B06271ABBBDF}" type="presOf" srcId="{74178CFB-3B87-4249-8116-94253A319133}" destId="{E1949051-0536-45DA-94CC-84E94F4B9FCE}" srcOrd="0" destOrd="2" presId="urn:microsoft.com/office/officeart/2005/8/layout/default"/>
    <dgm:cxn modelId="{1FF8388E-B6C2-4F96-AFE0-5CFC629FF22C}" type="presOf" srcId="{FA2A3042-19E8-40F2-A1FF-DA50A6AE0E55}" destId="{29FC9AEB-CF88-447A-90A4-A0CD965245BF}" srcOrd="0" destOrd="3" presId="urn:microsoft.com/office/officeart/2005/8/layout/default"/>
    <dgm:cxn modelId="{A6AF6090-7EFC-4B8A-8C27-558C9A17D9F3}" type="presOf" srcId="{5A2986CE-A048-4068-B718-88B154C90C05}" destId="{29FC9AEB-CF88-447A-90A4-A0CD965245BF}" srcOrd="0" destOrd="1" presId="urn:microsoft.com/office/officeart/2005/8/layout/default"/>
    <dgm:cxn modelId="{E1EF8A94-C0FA-43C7-A6D2-73F1CFAC4DE5}" type="presOf" srcId="{0C8BCFB7-01E5-46BB-93C1-2FD4B7433C00}" destId="{4B8C063B-9EF6-4DC8-9954-AD98DD729769}" srcOrd="0" destOrd="0" presId="urn:microsoft.com/office/officeart/2005/8/layout/default"/>
    <dgm:cxn modelId="{AFC9B4AB-8E0A-40D1-8417-6DEB038C42E1}" srcId="{0C8BCFB7-01E5-46BB-93C1-2FD4B7433C00}" destId="{50CC0349-3F51-45DD-AF39-95985C577F90}" srcOrd="0" destOrd="0" parTransId="{1FBF8ACB-5AEC-4E48-AF05-B6E028035D6E}" sibTransId="{7578F553-4DF0-4005-96C9-868023C41474}"/>
    <dgm:cxn modelId="{0315CFAC-D9F0-43DB-97C8-478F8DE0475C}" type="presOf" srcId="{EF3DB43E-44B1-4F1D-9466-60D41D964F91}" destId="{68F3DE5B-6702-462E-9A98-9DF4F1198E3F}" srcOrd="0" destOrd="4" presId="urn:microsoft.com/office/officeart/2005/8/layout/default"/>
    <dgm:cxn modelId="{454677B5-FFDC-463E-8E4A-A6E16CDAE5B7}" type="presOf" srcId="{2E005A51-4BC4-43E0-9CF9-B91685116CD8}" destId="{713D9448-E328-4F6A-8A59-9104D555764F}" srcOrd="0" destOrd="2" presId="urn:microsoft.com/office/officeart/2005/8/layout/default"/>
    <dgm:cxn modelId="{21DBEDB7-A90C-4B9D-BA2E-1091A7540452}" srcId="{50CC0349-3F51-45DD-AF39-95985C577F90}" destId="{F350E83D-5398-425B-A589-888FFEEB6382}" srcOrd="2" destOrd="0" parTransId="{6638EEB2-D681-4E5E-81E9-29A35993E924}" sibTransId="{47202701-5FA6-49C7-82D4-A65D241338F5}"/>
    <dgm:cxn modelId="{1DDE14BD-29E7-4328-9968-509D010332CC}" srcId="{E1750098-77DA-4FD0-BDA9-861CA437868B}" destId="{74178CFB-3B87-4249-8116-94253A319133}" srcOrd="1" destOrd="0" parTransId="{E1896658-EF9D-4C37-8880-CF6005C89E6A}" sibTransId="{E78C339A-1A7C-402A-A9DC-33F347700FD0}"/>
    <dgm:cxn modelId="{D5B0CDC8-B26B-4E3B-B11D-56F7DBDABC50}" type="presOf" srcId="{8E17F32C-CB71-4D94-A7D7-C28D8CFC520F}" destId="{68F3DE5B-6702-462E-9A98-9DF4F1198E3F}" srcOrd="0" destOrd="1" presId="urn:microsoft.com/office/officeart/2005/8/layout/default"/>
    <dgm:cxn modelId="{BC6CA2CD-034F-4432-97FB-0A6680E32A16}" type="presOf" srcId="{886FE059-7B08-469B-8F45-8CDB554E68E1}" destId="{713D9448-E328-4F6A-8A59-9104D555764F}" srcOrd="0" destOrd="1" presId="urn:microsoft.com/office/officeart/2005/8/layout/default"/>
    <dgm:cxn modelId="{FDB76BD2-3393-4B33-B0B4-B45F1D472550}" type="presOf" srcId="{799ED47F-B68A-44C3-B4B3-703A0AE784B5}" destId="{29FC9AEB-CF88-447A-90A4-A0CD965245BF}" srcOrd="0" destOrd="0" presId="urn:microsoft.com/office/officeart/2005/8/layout/default"/>
    <dgm:cxn modelId="{C1C1E4D3-D56F-4A24-8E58-25386FA1AD74}" srcId="{0C8BCFB7-01E5-46BB-93C1-2FD4B7433C00}" destId="{E1750098-77DA-4FD0-BDA9-861CA437868B}" srcOrd="1" destOrd="0" parTransId="{00F1FA0B-CC90-41AE-A2ED-57DC3C559AF6}" sibTransId="{9A8AC54D-9FE9-4E50-9D03-D7D4288CE81F}"/>
    <dgm:cxn modelId="{24E511D5-CA52-41F8-A773-E4CA44F73AFD}" srcId="{50CC0349-3F51-45DD-AF39-95985C577F90}" destId="{886FE059-7B08-469B-8F45-8CDB554E68E1}" srcOrd="0" destOrd="0" parTransId="{19B0FA09-7035-460B-8A2E-97C2BBC7646D}" sibTransId="{BC9A9671-F879-4EC6-85A6-59FB2ACE5E3C}"/>
    <dgm:cxn modelId="{D53489DB-5C14-4DDC-B95E-464B0B5B4906}" srcId="{799ED47F-B68A-44C3-B4B3-703A0AE784B5}" destId="{FA2A3042-19E8-40F2-A1FF-DA50A6AE0E55}" srcOrd="2" destOrd="0" parTransId="{12460690-481B-455B-9AF7-423E3B90C7EA}" sibTransId="{4FA48E8A-0A35-4441-8DD0-54D06B4357B6}"/>
    <dgm:cxn modelId="{127BC2FA-E85A-4184-8773-5C50463BF9FD}" type="presOf" srcId="{AD899E07-7EBC-437E-A51C-81867F22FA4D}" destId="{29FC9AEB-CF88-447A-90A4-A0CD965245BF}" srcOrd="0" destOrd="2" presId="urn:microsoft.com/office/officeart/2005/8/layout/default"/>
    <dgm:cxn modelId="{9F94D5FC-0236-4817-9790-ECDD0FDD63F8}" srcId="{0BA72542-AEB6-40EA-9B3F-433C13F96E50}" destId="{10AC23AB-416A-4A2A-BF74-2B8855BEF082}" srcOrd="2" destOrd="0" parTransId="{B8A8CD65-39AF-42F8-AE8D-0EFA7CC32FA5}" sibTransId="{AFE3BDE7-7003-4C44-9A81-6D50CD6C1600}"/>
    <dgm:cxn modelId="{627FBA63-48E6-458D-A27D-7F1955BE8387}" type="presParOf" srcId="{4B8C063B-9EF6-4DC8-9954-AD98DD729769}" destId="{713D9448-E328-4F6A-8A59-9104D555764F}" srcOrd="0" destOrd="0" presId="urn:microsoft.com/office/officeart/2005/8/layout/default"/>
    <dgm:cxn modelId="{28CC314F-3F05-4E91-8DB2-55E443D81D6C}" type="presParOf" srcId="{4B8C063B-9EF6-4DC8-9954-AD98DD729769}" destId="{CBCD5ED3-3181-4F49-BFEC-3D7C5ABC76C7}" srcOrd="1" destOrd="0" presId="urn:microsoft.com/office/officeart/2005/8/layout/default"/>
    <dgm:cxn modelId="{216FB9FA-C4D0-499A-AD96-5ED8B3D69F63}" type="presParOf" srcId="{4B8C063B-9EF6-4DC8-9954-AD98DD729769}" destId="{E1949051-0536-45DA-94CC-84E94F4B9FCE}" srcOrd="2" destOrd="0" presId="urn:microsoft.com/office/officeart/2005/8/layout/default"/>
    <dgm:cxn modelId="{4646A6AA-40E7-419F-9347-9919FE66EEA1}" type="presParOf" srcId="{4B8C063B-9EF6-4DC8-9954-AD98DD729769}" destId="{41C9B2D2-2BC3-4739-AB0A-55D5B898A66E}" srcOrd="3" destOrd="0" presId="urn:microsoft.com/office/officeart/2005/8/layout/default"/>
    <dgm:cxn modelId="{98C4C73D-F560-4256-9335-DCDCAEC227C6}" type="presParOf" srcId="{4B8C063B-9EF6-4DC8-9954-AD98DD729769}" destId="{29FC9AEB-CF88-447A-90A4-A0CD965245BF}" srcOrd="4" destOrd="0" presId="urn:microsoft.com/office/officeart/2005/8/layout/default"/>
    <dgm:cxn modelId="{308ECA02-CC28-4D3D-815E-2115EA185320}" type="presParOf" srcId="{4B8C063B-9EF6-4DC8-9954-AD98DD729769}" destId="{20C92CC2-44EF-4358-A253-76C6D42A8F53}" srcOrd="5" destOrd="0" presId="urn:microsoft.com/office/officeart/2005/8/layout/default"/>
    <dgm:cxn modelId="{21AA66F6-6B1C-45E3-A7F6-F3D410D47A1F}" type="presParOf" srcId="{4B8C063B-9EF6-4DC8-9954-AD98DD729769}" destId="{68F3DE5B-6702-462E-9A98-9DF4F1198E3F}"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68A048-18A1-4042-9028-E31F3360D5CB}">
      <dsp:nvSpPr>
        <dsp:cNvPr id="0" name=""/>
        <dsp:cNvSpPr/>
      </dsp:nvSpPr>
      <dsp:spPr>
        <a:xfrm>
          <a:off x="5270685" y="1447232"/>
          <a:ext cx="1337363" cy="212154"/>
        </a:xfrm>
        <a:custGeom>
          <a:avLst/>
          <a:gdLst/>
          <a:ahLst/>
          <a:cxnLst/>
          <a:rect l="0" t="0" r="0" b="0"/>
          <a:pathLst>
            <a:path>
              <a:moveTo>
                <a:pt x="0" y="0"/>
              </a:moveTo>
              <a:lnTo>
                <a:pt x="0" y="144577"/>
              </a:lnTo>
              <a:lnTo>
                <a:pt x="1337363" y="144577"/>
              </a:lnTo>
              <a:lnTo>
                <a:pt x="1337363"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3C5D0D-922C-4A37-8E1B-B48D9A90EBA1}">
      <dsp:nvSpPr>
        <dsp:cNvPr id="0" name=""/>
        <dsp:cNvSpPr/>
      </dsp:nvSpPr>
      <dsp:spPr>
        <a:xfrm>
          <a:off x="5270685" y="1447232"/>
          <a:ext cx="445787" cy="212154"/>
        </a:xfrm>
        <a:custGeom>
          <a:avLst/>
          <a:gdLst/>
          <a:ahLst/>
          <a:cxnLst/>
          <a:rect l="0" t="0" r="0" b="0"/>
          <a:pathLst>
            <a:path>
              <a:moveTo>
                <a:pt x="0" y="0"/>
              </a:moveTo>
              <a:lnTo>
                <a:pt x="0" y="144577"/>
              </a:lnTo>
              <a:lnTo>
                <a:pt x="445787" y="144577"/>
              </a:lnTo>
              <a:lnTo>
                <a:pt x="445787"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6F2E573-1661-4FD5-8E99-61D2CDBDD9E6}">
      <dsp:nvSpPr>
        <dsp:cNvPr id="0" name=""/>
        <dsp:cNvSpPr/>
      </dsp:nvSpPr>
      <dsp:spPr>
        <a:xfrm>
          <a:off x="4824897" y="1447232"/>
          <a:ext cx="445787" cy="212154"/>
        </a:xfrm>
        <a:custGeom>
          <a:avLst/>
          <a:gdLst/>
          <a:ahLst/>
          <a:cxnLst/>
          <a:rect l="0" t="0" r="0" b="0"/>
          <a:pathLst>
            <a:path>
              <a:moveTo>
                <a:pt x="445787" y="0"/>
              </a:moveTo>
              <a:lnTo>
                <a:pt x="445787" y="144577"/>
              </a:lnTo>
              <a:lnTo>
                <a:pt x="0" y="144577"/>
              </a:lnTo>
              <a:lnTo>
                <a:pt x="0"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5DBFCC-B526-4B57-A753-8E7C226E08DC}">
      <dsp:nvSpPr>
        <dsp:cNvPr id="0" name=""/>
        <dsp:cNvSpPr/>
      </dsp:nvSpPr>
      <dsp:spPr>
        <a:xfrm>
          <a:off x="3933321" y="1447232"/>
          <a:ext cx="1337363" cy="212154"/>
        </a:xfrm>
        <a:custGeom>
          <a:avLst/>
          <a:gdLst/>
          <a:ahLst/>
          <a:cxnLst/>
          <a:rect l="0" t="0" r="0" b="0"/>
          <a:pathLst>
            <a:path>
              <a:moveTo>
                <a:pt x="1337363" y="0"/>
              </a:moveTo>
              <a:lnTo>
                <a:pt x="1337363" y="144577"/>
              </a:lnTo>
              <a:lnTo>
                <a:pt x="0" y="144577"/>
              </a:lnTo>
              <a:lnTo>
                <a:pt x="0"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7175A5-6DBA-46D0-8BEA-3C611BC4BCCB}">
      <dsp:nvSpPr>
        <dsp:cNvPr id="0" name=""/>
        <dsp:cNvSpPr/>
      </dsp:nvSpPr>
      <dsp:spPr>
        <a:xfrm>
          <a:off x="3487533" y="771863"/>
          <a:ext cx="1783151" cy="212154"/>
        </a:xfrm>
        <a:custGeom>
          <a:avLst/>
          <a:gdLst/>
          <a:ahLst/>
          <a:cxnLst/>
          <a:rect l="0" t="0" r="0" b="0"/>
          <a:pathLst>
            <a:path>
              <a:moveTo>
                <a:pt x="0" y="0"/>
              </a:moveTo>
              <a:lnTo>
                <a:pt x="0" y="144577"/>
              </a:lnTo>
              <a:lnTo>
                <a:pt x="1783151" y="144577"/>
              </a:lnTo>
              <a:lnTo>
                <a:pt x="1783151" y="21215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75BD9F-E30E-4835-8B2D-A7BCED00B74B}">
      <dsp:nvSpPr>
        <dsp:cNvPr id="0" name=""/>
        <dsp:cNvSpPr/>
      </dsp:nvSpPr>
      <dsp:spPr>
        <a:xfrm>
          <a:off x="1704382" y="1447232"/>
          <a:ext cx="1337363" cy="212154"/>
        </a:xfrm>
        <a:custGeom>
          <a:avLst/>
          <a:gdLst/>
          <a:ahLst/>
          <a:cxnLst/>
          <a:rect l="0" t="0" r="0" b="0"/>
          <a:pathLst>
            <a:path>
              <a:moveTo>
                <a:pt x="0" y="0"/>
              </a:moveTo>
              <a:lnTo>
                <a:pt x="0" y="144577"/>
              </a:lnTo>
              <a:lnTo>
                <a:pt x="1337363" y="144577"/>
              </a:lnTo>
              <a:lnTo>
                <a:pt x="1337363"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F73845-5DF4-4581-B114-9A029B901A32}">
      <dsp:nvSpPr>
        <dsp:cNvPr id="0" name=""/>
        <dsp:cNvSpPr/>
      </dsp:nvSpPr>
      <dsp:spPr>
        <a:xfrm>
          <a:off x="1704382" y="1447232"/>
          <a:ext cx="445787" cy="212154"/>
        </a:xfrm>
        <a:custGeom>
          <a:avLst/>
          <a:gdLst/>
          <a:ahLst/>
          <a:cxnLst/>
          <a:rect l="0" t="0" r="0" b="0"/>
          <a:pathLst>
            <a:path>
              <a:moveTo>
                <a:pt x="0" y="0"/>
              </a:moveTo>
              <a:lnTo>
                <a:pt x="0" y="144577"/>
              </a:lnTo>
              <a:lnTo>
                <a:pt x="445787" y="144577"/>
              </a:lnTo>
              <a:lnTo>
                <a:pt x="445787"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C094C4-6C1C-4EA6-A1F6-EC745AF6419A}">
      <dsp:nvSpPr>
        <dsp:cNvPr id="0" name=""/>
        <dsp:cNvSpPr/>
      </dsp:nvSpPr>
      <dsp:spPr>
        <a:xfrm>
          <a:off x="1258594" y="1447232"/>
          <a:ext cx="445787" cy="212154"/>
        </a:xfrm>
        <a:custGeom>
          <a:avLst/>
          <a:gdLst/>
          <a:ahLst/>
          <a:cxnLst/>
          <a:rect l="0" t="0" r="0" b="0"/>
          <a:pathLst>
            <a:path>
              <a:moveTo>
                <a:pt x="445787" y="0"/>
              </a:moveTo>
              <a:lnTo>
                <a:pt x="445787" y="144577"/>
              </a:lnTo>
              <a:lnTo>
                <a:pt x="0" y="144577"/>
              </a:lnTo>
              <a:lnTo>
                <a:pt x="0"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6B0F35-A618-49FB-A03C-DED279CBC885}">
      <dsp:nvSpPr>
        <dsp:cNvPr id="0" name=""/>
        <dsp:cNvSpPr/>
      </dsp:nvSpPr>
      <dsp:spPr>
        <a:xfrm>
          <a:off x="367018" y="1447232"/>
          <a:ext cx="1337363" cy="212154"/>
        </a:xfrm>
        <a:custGeom>
          <a:avLst/>
          <a:gdLst/>
          <a:ahLst/>
          <a:cxnLst/>
          <a:rect l="0" t="0" r="0" b="0"/>
          <a:pathLst>
            <a:path>
              <a:moveTo>
                <a:pt x="1337363" y="0"/>
              </a:moveTo>
              <a:lnTo>
                <a:pt x="1337363" y="144577"/>
              </a:lnTo>
              <a:lnTo>
                <a:pt x="0" y="144577"/>
              </a:lnTo>
              <a:lnTo>
                <a:pt x="0" y="21215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264A72B-7892-406E-A49A-63CDC7569D50}">
      <dsp:nvSpPr>
        <dsp:cNvPr id="0" name=""/>
        <dsp:cNvSpPr/>
      </dsp:nvSpPr>
      <dsp:spPr>
        <a:xfrm>
          <a:off x="1704382" y="771863"/>
          <a:ext cx="1783151" cy="212154"/>
        </a:xfrm>
        <a:custGeom>
          <a:avLst/>
          <a:gdLst/>
          <a:ahLst/>
          <a:cxnLst/>
          <a:rect l="0" t="0" r="0" b="0"/>
          <a:pathLst>
            <a:path>
              <a:moveTo>
                <a:pt x="1783151" y="0"/>
              </a:moveTo>
              <a:lnTo>
                <a:pt x="1783151" y="144577"/>
              </a:lnTo>
              <a:lnTo>
                <a:pt x="0" y="144577"/>
              </a:lnTo>
              <a:lnTo>
                <a:pt x="0" y="21215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A74A57-CBFE-4C44-B03A-F8CE60235689}">
      <dsp:nvSpPr>
        <dsp:cNvPr id="0" name=""/>
        <dsp:cNvSpPr/>
      </dsp:nvSpPr>
      <dsp:spPr>
        <a:xfrm>
          <a:off x="3122798" y="308649"/>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733E4B-7C2D-4058-8353-6E948F252C24}">
      <dsp:nvSpPr>
        <dsp:cNvPr id="0" name=""/>
        <dsp:cNvSpPr/>
      </dsp:nvSpPr>
      <dsp:spPr>
        <a:xfrm>
          <a:off x="3203850" y="385649"/>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Supervised</a:t>
          </a:r>
        </a:p>
      </dsp:txBody>
      <dsp:txXfrm>
        <a:off x="3217417" y="399216"/>
        <a:ext cx="702337" cy="436080"/>
      </dsp:txXfrm>
    </dsp:sp>
    <dsp:sp modelId="{CD036402-BAF4-4BF5-99D6-C953E1643221}">
      <dsp:nvSpPr>
        <dsp:cNvPr id="0" name=""/>
        <dsp:cNvSpPr/>
      </dsp:nvSpPr>
      <dsp:spPr>
        <a:xfrm>
          <a:off x="1339646" y="984018"/>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D90662-70D7-42DF-8CFB-07E04ABA4343}">
      <dsp:nvSpPr>
        <dsp:cNvPr id="0" name=""/>
        <dsp:cNvSpPr/>
      </dsp:nvSpPr>
      <dsp:spPr>
        <a:xfrm>
          <a:off x="1420698" y="1061017"/>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Regression</a:t>
          </a:r>
        </a:p>
      </dsp:txBody>
      <dsp:txXfrm>
        <a:off x="1434265" y="1074584"/>
        <a:ext cx="702337" cy="436080"/>
      </dsp:txXfrm>
    </dsp:sp>
    <dsp:sp modelId="{51ED87DC-839D-49E8-96A1-C0383B9749B1}">
      <dsp:nvSpPr>
        <dsp:cNvPr id="0" name=""/>
        <dsp:cNvSpPr/>
      </dsp:nvSpPr>
      <dsp:spPr>
        <a:xfrm>
          <a:off x="2282"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1C8C12-3F2B-430D-B88C-F75758485507}">
      <dsp:nvSpPr>
        <dsp:cNvPr id="0" name=""/>
        <dsp:cNvSpPr/>
      </dsp:nvSpPr>
      <dsp:spPr>
        <a:xfrm>
          <a:off x="83334"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Linear, nonlinear</a:t>
          </a:r>
        </a:p>
      </dsp:txBody>
      <dsp:txXfrm>
        <a:off x="96901" y="1749953"/>
        <a:ext cx="702337" cy="436080"/>
      </dsp:txXfrm>
    </dsp:sp>
    <dsp:sp modelId="{806F4A64-9AD6-4C9D-92A4-9C01E53CE772}">
      <dsp:nvSpPr>
        <dsp:cNvPr id="0" name=""/>
        <dsp:cNvSpPr/>
      </dsp:nvSpPr>
      <dsp:spPr>
        <a:xfrm>
          <a:off x="893858"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3B1983-CBFE-4136-8038-DDBC6686DE3D}">
      <dsp:nvSpPr>
        <dsp:cNvPr id="0" name=""/>
        <dsp:cNvSpPr/>
      </dsp:nvSpPr>
      <dsp:spPr>
        <a:xfrm>
          <a:off x="974910"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K-nearest neighbor</a:t>
          </a:r>
        </a:p>
      </dsp:txBody>
      <dsp:txXfrm>
        <a:off x="988477" y="1749953"/>
        <a:ext cx="702337" cy="436080"/>
      </dsp:txXfrm>
    </dsp:sp>
    <dsp:sp modelId="{50DA5CAE-7D0A-4714-941C-C431000A3F71}">
      <dsp:nvSpPr>
        <dsp:cNvPr id="0" name=""/>
        <dsp:cNvSpPr/>
      </dsp:nvSpPr>
      <dsp:spPr>
        <a:xfrm>
          <a:off x="1785434"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58303F6-C122-408B-9638-473F9D82998A}">
      <dsp:nvSpPr>
        <dsp:cNvPr id="0" name=""/>
        <dsp:cNvSpPr/>
      </dsp:nvSpPr>
      <dsp:spPr>
        <a:xfrm>
          <a:off x="1866486"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SVM</a:t>
          </a:r>
        </a:p>
      </dsp:txBody>
      <dsp:txXfrm>
        <a:off x="1880053" y="1749953"/>
        <a:ext cx="702337" cy="436080"/>
      </dsp:txXfrm>
    </dsp:sp>
    <dsp:sp modelId="{6D74077D-F746-4452-89F3-177BD7041FD1}">
      <dsp:nvSpPr>
        <dsp:cNvPr id="0" name=""/>
        <dsp:cNvSpPr/>
      </dsp:nvSpPr>
      <dsp:spPr>
        <a:xfrm>
          <a:off x="2677010"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A34D63-88DD-438D-AC26-F226E104C281}">
      <dsp:nvSpPr>
        <dsp:cNvPr id="0" name=""/>
        <dsp:cNvSpPr/>
      </dsp:nvSpPr>
      <dsp:spPr>
        <a:xfrm>
          <a:off x="2758062"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Random forest</a:t>
          </a:r>
        </a:p>
      </dsp:txBody>
      <dsp:txXfrm>
        <a:off x="2771629" y="1749953"/>
        <a:ext cx="702337" cy="436080"/>
      </dsp:txXfrm>
    </dsp:sp>
    <dsp:sp modelId="{8E5D1CE3-DC55-4817-9A16-1CEADC0D8B01}">
      <dsp:nvSpPr>
        <dsp:cNvPr id="0" name=""/>
        <dsp:cNvSpPr/>
      </dsp:nvSpPr>
      <dsp:spPr>
        <a:xfrm>
          <a:off x="4905950" y="984018"/>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9F488E-2331-426C-8364-B3629A38159F}">
      <dsp:nvSpPr>
        <dsp:cNvPr id="0" name=""/>
        <dsp:cNvSpPr/>
      </dsp:nvSpPr>
      <dsp:spPr>
        <a:xfrm>
          <a:off x="4987002" y="1061017"/>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Classification</a:t>
          </a:r>
        </a:p>
      </dsp:txBody>
      <dsp:txXfrm>
        <a:off x="5000569" y="1074584"/>
        <a:ext cx="702337" cy="436080"/>
      </dsp:txXfrm>
    </dsp:sp>
    <dsp:sp modelId="{1DC8484F-F6EC-4D2F-9E35-9A06C1A47509}">
      <dsp:nvSpPr>
        <dsp:cNvPr id="0" name=""/>
        <dsp:cNvSpPr/>
      </dsp:nvSpPr>
      <dsp:spPr>
        <a:xfrm>
          <a:off x="3568586"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06B582-0A3A-4F15-95B5-091EFDFC9C6C}">
      <dsp:nvSpPr>
        <dsp:cNvPr id="0" name=""/>
        <dsp:cNvSpPr/>
      </dsp:nvSpPr>
      <dsp:spPr>
        <a:xfrm>
          <a:off x="3649638"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Decision tree</a:t>
          </a:r>
        </a:p>
      </dsp:txBody>
      <dsp:txXfrm>
        <a:off x="3663205" y="1749953"/>
        <a:ext cx="702337" cy="436080"/>
      </dsp:txXfrm>
    </dsp:sp>
    <dsp:sp modelId="{4A4F521E-EFB0-4DBE-9AE1-B9B38B0622A7}">
      <dsp:nvSpPr>
        <dsp:cNvPr id="0" name=""/>
        <dsp:cNvSpPr/>
      </dsp:nvSpPr>
      <dsp:spPr>
        <a:xfrm>
          <a:off x="4460162"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24EBA2-2880-42F4-83A2-CED6EFECA40E}">
      <dsp:nvSpPr>
        <dsp:cNvPr id="0" name=""/>
        <dsp:cNvSpPr/>
      </dsp:nvSpPr>
      <dsp:spPr>
        <a:xfrm>
          <a:off x="4541214"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Random Forrest</a:t>
          </a:r>
        </a:p>
      </dsp:txBody>
      <dsp:txXfrm>
        <a:off x="4554781" y="1749953"/>
        <a:ext cx="702337" cy="436080"/>
      </dsp:txXfrm>
    </dsp:sp>
    <dsp:sp modelId="{EF37F3E0-FB5B-4B77-8051-461CE67EBD0B}">
      <dsp:nvSpPr>
        <dsp:cNvPr id="0" name=""/>
        <dsp:cNvSpPr/>
      </dsp:nvSpPr>
      <dsp:spPr>
        <a:xfrm>
          <a:off x="5351737"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0B7499-E086-426D-B289-0E4C6971A9A5}">
      <dsp:nvSpPr>
        <dsp:cNvPr id="0" name=""/>
        <dsp:cNvSpPr/>
      </dsp:nvSpPr>
      <dsp:spPr>
        <a:xfrm>
          <a:off x="5432790"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Logistic regression</a:t>
          </a:r>
        </a:p>
      </dsp:txBody>
      <dsp:txXfrm>
        <a:off x="5446357" y="1749953"/>
        <a:ext cx="702337" cy="436080"/>
      </dsp:txXfrm>
    </dsp:sp>
    <dsp:sp modelId="{437E7EAD-A6E3-4958-9787-930EC91BDFD0}">
      <dsp:nvSpPr>
        <dsp:cNvPr id="0" name=""/>
        <dsp:cNvSpPr/>
      </dsp:nvSpPr>
      <dsp:spPr>
        <a:xfrm>
          <a:off x="6243313" y="1659386"/>
          <a:ext cx="729471" cy="4632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865F6E-2F73-40ED-A1D6-FD31FF6648D6}">
      <dsp:nvSpPr>
        <dsp:cNvPr id="0" name=""/>
        <dsp:cNvSpPr/>
      </dsp:nvSpPr>
      <dsp:spPr>
        <a:xfrm>
          <a:off x="6324366" y="1736386"/>
          <a:ext cx="729471" cy="4632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Naïve Bayes</a:t>
          </a:r>
        </a:p>
      </dsp:txBody>
      <dsp:txXfrm>
        <a:off x="6337933" y="1749953"/>
        <a:ext cx="702337" cy="436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4C0976-A814-FC45-A984-C08D68046698}">
      <dsp:nvSpPr>
        <dsp:cNvPr id="0" name=""/>
        <dsp:cNvSpPr/>
      </dsp:nvSpPr>
      <dsp:spPr>
        <a:xfrm>
          <a:off x="5547495" y="1075365"/>
          <a:ext cx="91440" cy="200205"/>
        </a:xfrm>
        <a:custGeom>
          <a:avLst/>
          <a:gdLst/>
          <a:ahLst/>
          <a:cxnLst/>
          <a:rect l="0" t="0" r="0" b="0"/>
          <a:pathLst>
            <a:path>
              <a:moveTo>
                <a:pt x="45720" y="0"/>
              </a:moveTo>
              <a:lnTo>
                <a:pt x="45720" y="20020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F12D1B-9492-5E49-9902-DC4BCA3B484F}">
      <dsp:nvSpPr>
        <dsp:cNvPr id="0" name=""/>
        <dsp:cNvSpPr/>
      </dsp:nvSpPr>
      <dsp:spPr>
        <a:xfrm>
          <a:off x="4331176" y="438035"/>
          <a:ext cx="1262039" cy="200205"/>
        </a:xfrm>
        <a:custGeom>
          <a:avLst/>
          <a:gdLst/>
          <a:ahLst/>
          <a:cxnLst/>
          <a:rect l="0" t="0" r="0" b="0"/>
          <a:pathLst>
            <a:path>
              <a:moveTo>
                <a:pt x="0" y="0"/>
              </a:moveTo>
              <a:lnTo>
                <a:pt x="0" y="136434"/>
              </a:lnTo>
              <a:lnTo>
                <a:pt x="1262039" y="136434"/>
              </a:lnTo>
              <a:lnTo>
                <a:pt x="1262039" y="2002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3EF77E-34C1-6642-B1BE-7CCAC9EB8C06}">
      <dsp:nvSpPr>
        <dsp:cNvPr id="0" name=""/>
        <dsp:cNvSpPr/>
      </dsp:nvSpPr>
      <dsp:spPr>
        <a:xfrm>
          <a:off x="3069136" y="1075365"/>
          <a:ext cx="1682719" cy="200205"/>
        </a:xfrm>
        <a:custGeom>
          <a:avLst/>
          <a:gdLst/>
          <a:ahLst/>
          <a:cxnLst/>
          <a:rect l="0" t="0" r="0" b="0"/>
          <a:pathLst>
            <a:path>
              <a:moveTo>
                <a:pt x="0" y="0"/>
              </a:moveTo>
              <a:lnTo>
                <a:pt x="0" y="136434"/>
              </a:lnTo>
              <a:lnTo>
                <a:pt x="1682719" y="136434"/>
              </a:lnTo>
              <a:lnTo>
                <a:pt x="1682719" y="20020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B9FD50-9E40-B74E-83FB-A55CA2D4E3BB}">
      <dsp:nvSpPr>
        <dsp:cNvPr id="0" name=""/>
        <dsp:cNvSpPr/>
      </dsp:nvSpPr>
      <dsp:spPr>
        <a:xfrm>
          <a:off x="3069136" y="1075365"/>
          <a:ext cx="841359" cy="200205"/>
        </a:xfrm>
        <a:custGeom>
          <a:avLst/>
          <a:gdLst/>
          <a:ahLst/>
          <a:cxnLst/>
          <a:rect l="0" t="0" r="0" b="0"/>
          <a:pathLst>
            <a:path>
              <a:moveTo>
                <a:pt x="0" y="0"/>
              </a:moveTo>
              <a:lnTo>
                <a:pt x="0" y="136434"/>
              </a:lnTo>
              <a:lnTo>
                <a:pt x="841359" y="136434"/>
              </a:lnTo>
              <a:lnTo>
                <a:pt x="841359" y="20020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E195A57-F591-4348-8AA8-5BADF5A21DE1}">
      <dsp:nvSpPr>
        <dsp:cNvPr id="0" name=""/>
        <dsp:cNvSpPr/>
      </dsp:nvSpPr>
      <dsp:spPr>
        <a:xfrm>
          <a:off x="3023416" y="1075365"/>
          <a:ext cx="91440" cy="200205"/>
        </a:xfrm>
        <a:custGeom>
          <a:avLst/>
          <a:gdLst/>
          <a:ahLst/>
          <a:cxnLst/>
          <a:rect l="0" t="0" r="0" b="0"/>
          <a:pathLst>
            <a:path>
              <a:moveTo>
                <a:pt x="45720" y="0"/>
              </a:moveTo>
              <a:lnTo>
                <a:pt x="45720" y="20020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C094C4-6C1C-4EA6-A1F6-EC745AF6419A}">
      <dsp:nvSpPr>
        <dsp:cNvPr id="0" name=""/>
        <dsp:cNvSpPr/>
      </dsp:nvSpPr>
      <dsp:spPr>
        <a:xfrm>
          <a:off x="2227776" y="1075365"/>
          <a:ext cx="841359" cy="200205"/>
        </a:xfrm>
        <a:custGeom>
          <a:avLst/>
          <a:gdLst/>
          <a:ahLst/>
          <a:cxnLst/>
          <a:rect l="0" t="0" r="0" b="0"/>
          <a:pathLst>
            <a:path>
              <a:moveTo>
                <a:pt x="841359" y="0"/>
              </a:moveTo>
              <a:lnTo>
                <a:pt x="841359" y="136434"/>
              </a:lnTo>
              <a:lnTo>
                <a:pt x="0" y="136434"/>
              </a:lnTo>
              <a:lnTo>
                <a:pt x="0" y="20020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6B0F35-A618-49FB-A03C-DED279CBC885}">
      <dsp:nvSpPr>
        <dsp:cNvPr id="0" name=""/>
        <dsp:cNvSpPr/>
      </dsp:nvSpPr>
      <dsp:spPr>
        <a:xfrm>
          <a:off x="1386417" y="1075365"/>
          <a:ext cx="1682719" cy="200205"/>
        </a:xfrm>
        <a:custGeom>
          <a:avLst/>
          <a:gdLst/>
          <a:ahLst/>
          <a:cxnLst/>
          <a:rect l="0" t="0" r="0" b="0"/>
          <a:pathLst>
            <a:path>
              <a:moveTo>
                <a:pt x="1682719" y="0"/>
              </a:moveTo>
              <a:lnTo>
                <a:pt x="1682719" y="136434"/>
              </a:lnTo>
              <a:lnTo>
                <a:pt x="0" y="136434"/>
              </a:lnTo>
              <a:lnTo>
                <a:pt x="0" y="20020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264A72B-7892-406E-A49A-63CDC7569D50}">
      <dsp:nvSpPr>
        <dsp:cNvPr id="0" name=""/>
        <dsp:cNvSpPr/>
      </dsp:nvSpPr>
      <dsp:spPr>
        <a:xfrm>
          <a:off x="3069136" y="438035"/>
          <a:ext cx="1262039" cy="200205"/>
        </a:xfrm>
        <a:custGeom>
          <a:avLst/>
          <a:gdLst/>
          <a:ahLst/>
          <a:cxnLst/>
          <a:rect l="0" t="0" r="0" b="0"/>
          <a:pathLst>
            <a:path>
              <a:moveTo>
                <a:pt x="1262039" y="0"/>
              </a:moveTo>
              <a:lnTo>
                <a:pt x="1262039" y="136434"/>
              </a:lnTo>
              <a:lnTo>
                <a:pt x="0" y="136434"/>
              </a:lnTo>
              <a:lnTo>
                <a:pt x="0" y="20020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A74A57-CBFE-4C44-B03A-F8CE60235689}">
      <dsp:nvSpPr>
        <dsp:cNvPr id="0" name=""/>
        <dsp:cNvSpPr/>
      </dsp:nvSpPr>
      <dsp:spPr>
        <a:xfrm>
          <a:off x="3986983" y="91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733E4B-7C2D-4058-8353-6E948F252C24}">
      <dsp:nvSpPr>
        <dsp:cNvPr id="0" name=""/>
        <dsp:cNvSpPr/>
      </dsp:nvSpPr>
      <dsp:spPr>
        <a:xfrm>
          <a:off x="4063470" y="7357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kern="1200" dirty="0"/>
            <a:t>Unsupervised</a:t>
          </a:r>
        </a:p>
      </dsp:txBody>
      <dsp:txXfrm>
        <a:off x="4076273" y="86377"/>
        <a:ext cx="662779" cy="411518"/>
      </dsp:txXfrm>
    </dsp:sp>
    <dsp:sp modelId="{CD036402-BAF4-4BF5-99D6-C953E1643221}">
      <dsp:nvSpPr>
        <dsp:cNvPr id="0" name=""/>
        <dsp:cNvSpPr/>
      </dsp:nvSpPr>
      <dsp:spPr>
        <a:xfrm>
          <a:off x="2724943" y="63824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D90662-70D7-42DF-8CFB-07E04ABA4343}">
      <dsp:nvSpPr>
        <dsp:cNvPr id="0" name=""/>
        <dsp:cNvSpPr/>
      </dsp:nvSpPr>
      <dsp:spPr>
        <a:xfrm>
          <a:off x="2801431" y="71090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kern="1200" dirty="0"/>
            <a:t>Clustering</a:t>
          </a:r>
        </a:p>
      </dsp:txBody>
      <dsp:txXfrm>
        <a:off x="2814234" y="723707"/>
        <a:ext cx="662779" cy="411518"/>
      </dsp:txXfrm>
    </dsp:sp>
    <dsp:sp modelId="{51ED87DC-839D-49E8-96A1-C0383B9749B1}">
      <dsp:nvSpPr>
        <dsp:cNvPr id="0" name=""/>
        <dsp:cNvSpPr/>
      </dsp:nvSpPr>
      <dsp:spPr>
        <a:xfrm>
          <a:off x="1042224" y="127557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1C8C12-3F2B-430D-B88C-F75758485507}">
      <dsp:nvSpPr>
        <dsp:cNvPr id="0" name=""/>
        <dsp:cNvSpPr/>
      </dsp:nvSpPr>
      <dsp:spPr>
        <a:xfrm>
          <a:off x="1118711" y="134823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kern="1200" dirty="0"/>
            <a:t>Shit-Mean</a:t>
          </a:r>
        </a:p>
      </dsp:txBody>
      <dsp:txXfrm>
        <a:off x="1131514" y="1361037"/>
        <a:ext cx="662779" cy="411518"/>
      </dsp:txXfrm>
    </dsp:sp>
    <dsp:sp modelId="{806F4A64-9AD6-4C9D-92A4-9C01E53CE772}">
      <dsp:nvSpPr>
        <dsp:cNvPr id="0" name=""/>
        <dsp:cNvSpPr/>
      </dsp:nvSpPr>
      <dsp:spPr>
        <a:xfrm>
          <a:off x="1883584" y="127557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3B1983-CBFE-4136-8038-DDBC6686DE3D}">
      <dsp:nvSpPr>
        <dsp:cNvPr id="0" name=""/>
        <dsp:cNvSpPr/>
      </dsp:nvSpPr>
      <dsp:spPr>
        <a:xfrm>
          <a:off x="1960071" y="134823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kern="1200" dirty="0"/>
            <a:t>Mixture Model</a:t>
          </a:r>
        </a:p>
      </dsp:txBody>
      <dsp:txXfrm>
        <a:off x="1972874" y="1361037"/>
        <a:ext cx="662779" cy="411518"/>
      </dsp:txXfrm>
    </dsp:sp>
    <dsp:sp modelId="{37977D68-C129-A84D-81EA-C07884545E00}">
      <dsp:nvSpPr>
        <dsp:cNvPr id="0" name=""/>
        <dsp:cNvSpPr/>
      </dsp:nvSpPr>
      <dsp:spPr>
        <a:xfrm>
          <a:off x="2724943" y="127557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B57CEA5-6EEF-6540-9831-36506FDC8AD7}">
      <dsp:nvSpPr>
        <dsp:cNvPr id="0" name=""/>
        <dsp:cNvSpPr/>
      </dsp:nvSpPr>
      <dsp:spPr>
        <a:xfrm>
          <a:off x="2801431" y="134823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b="0" i="0" kern="1200" dirty="0"/>
            <a:t>Hierarchical clustering</a:t>
          </a:r>
          <a:endParaRPr lang="en-CA" sz="700" kern="1200" dirty="0"/>
        </a:p>
      </dsp:txBody>
      <dsp:txXfrm>
        <a:off x="2814234" y="1361037"/>
        <a:ext cx="662779" cy="411518"/>
      </dsp:txXfrm>
    </dsp:sp>
    <dsp:sp modelId="{AB37C214-1C8C-7A4D-A1DD-AC4D55D399F1}">
      <dsp:nvSpPr>
        <dsp:cNvPr id="0" name=""/>
        <dsp:cNvSpPr/>
      </dsp:nvSpPr>
      <dsp:spPr>
        <a:xfrm>
          <a:off x="3566303" y="127557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E87796-DDDF-F149-A26B-4C0286E96593}">
      <dsp:nvSpPr>
        <dsp:cNvPr id="0" name=""/>
        <dsp:cNvSpPr/>
      </dsp:nvSpPr>
      <dsp:spPr>
        <a:xfrm>
          <a:off x="3642790" y="134823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b="0" i="0" kern="1200" dirty="0"/>
            <a:t>DBSCAN</a:t>
          </a:r>
          <a:endParaRPr lang="en-CA" sz="700" kern="1200" dirty="0"/>
        </a:p>
      </dsp:txBody>
      <dsp:txXfrm>
        <a:off x="3655593" y="1361037"/>
        <a:ext cx="662779" cy="411518"/>
      </dsp:txXfrm>
    </dsp:sp>
    <dsp:sp modelId="{FAE8DB2D-8BF4-7D4E-89B2-A3704A9B3C99}">
      <dsp:nvSpPr>
        <dsp:cNvPr id="0" name=""/>
        <dsp:cNvSpPr/>
      </dsp:nvSpPr>
      <dsp:spPr>
        <a:xfrm>
          <a:off x="4407663" y="127557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B0AADA-9559-9240-9C95-B9A20B7660D6}">
      <dsp:nvSpPr>
        <dsp:cNvPr id="0" name=""/>
        <dsp:cNvSpPr/>
      </dsp:nvSpPr>
      <dsp:spPr>
        <a:xfrm>
          <a:off x="4484150" y="134823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b="0" i="0" kern="1200" dirty="0"/>
            <a:t>OPTICS algorithm</a:t>
          </a:r>
          <a:endParaRPr lang="en-CA" sz="700" kern="1200" dirty="0"/>
        </a:p>
      </dsp:txBody>
      <dsp:txXfrm>
        <a:off x="4496953" y="1361037"/>
        <a:ext cx="662779" cy="411518"/>
      </dsp:txXfrm>
    </dsp:sp>
    <dsp:sp modelId="{96E33C7A-40DC-A344-9530-B4BC06902BB4}">
      <dsp:nvSpPr>
        <dsp:cNvPr id="0" name=""/>
        <dsp:cNvSpPr/>
      </dsp:nvSpPr>
      <dsp:spPr>
        <a:xfrm>
          <a:off x="5249022" y="63824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4FD509-A978-EC41-AE61-6FEB377DB022}">
      <dsp:nvSpPr>
        <dsp:cNvPr id="0" name=""/>
        <dsp:cNvSpPr/>
      </dsp:nvSpPr>
      <dsp:spPr>
        <a:xfrm>
          <a:off x="5325510" y="71090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kern="1200" dirty="0"/>
            <a:t>Anomaly Detection</a:t>
          </a:r>
        </a:p>
      </dsp:txBody>
      <dsp:txXfrm>
        <a:off x="5338313" y="723707"/>
        <a:ext cx="662779" cy="411518"/>
      </dsp:txXfrm>
    </dsp:sp>
    <dsp:sp modelId="{EAC35EAF-721C-8145-919E-920419A7570C}">
      <dsp:nvSpPr>
        <dsp:cNvPr id="0" name=""/>
        <dsp:cNvSpPr/>
      </dsp:nvSpPr>
      <dsp:spPr>
        <a:xfrm>
          <a:off x="5249022" y="1275571"/>
          <a:ext cx="688385" cy="43712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3DC135-7026-0E4C-87F6-6479B0085061}">
      <dsp:nvSpPr>
        <dsp:cNvPr id="0" name=""/>
        <dsp:cNvSpPr/>
      </dsp:nvSpPr>
      <dsp:spPr>
        <a:xfrm>
          <a:off x="5325510" y="1348234"/>
          <a:ext cx="688385" cy="43712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CA" sz="700" b="0" i="0" kern="1200" dirty="0"/>
            <a:t>Local outlier factor</a:t>
          </a:r>
          <a:endParaRPr lang="en-CA" sz="700" kern="1200" dirty="0"/>
        </a:p>
      </dsp:txBody>
      <dsp:txXfrm>
        <a:off x="5338313" y="1361037"/>
        <a:ext cx="662779" cy="4115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754D45-479D-4258-869B-BFEE3571DE91}">
      <dsp:nvSpPr>
        <dsp:cNvPr id="0" name=""/>
        <dsp:cNvSpPr/>
      </dsp:nvSpPr>
      <dsp:spPr>
        <a:xfrm>
          <a:off x="3481719" y="702676"/>
          <a:ext cx="3058455" cy="242591"/>
        </a:xfrm>
        <a:custGeom>
          <a:avLst/>
          <a:gdLst/>
          <a:ahLst/>
          <a:cxnLst/>
          <a:rect l="0" t="0" r="0" b="0"/>
          <a:pathLst>
            <a:path>
              <a:moveTo>
                <a:pt x="0" y="0"/>
              </a:moveTo>
              <a:lnTo>
                <a:pt x="0" y="165318"/>
              </a:lnTo>
              <a:lnTo>
                <a:pt x="3058455" y="165318"/>
              </a:lnTo>
              <a:lnTo>
                <a:pt x="3058455" y="2425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157244-FE89-43AD-B279-813636222B51}">
      <dsp:nvSpPr>
        <dsp:cNvPr id="0" name=""/>
        <dsp:cNvSpPr/>
      </dsp:nvSpPr>
      <dsp:spPr>
        <a:xfrm>
          <a:off x="3481719" y="702676"/>
          <a:ext cx="2038970" cy="242591"/>
        </a:xfrm>
        <a:custGeom>
          <a:avLst/>
          <a:gdLst/>
          <a:ahLst/>
          <a:cxnLst/>
          <a:rect l="0" t="0" r="0" b="0"/>
          <a:pathLst>
            <a:path>
              <a:moveTo>
                <a:pt x="0" y="0"/>
              </a:moveTo>
              <a:lnTo>
                <a:pt x="0" y="165318"/>
              </a:lnTo>
              <a:lnTo>
                <a:pt x="2038970" y="165318"/>
              </a:lnTo>
              <a:lnTo>
                <a:pt x="2038970" y="2425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27BC0E-C99D-4DF2-8CE3-515F78169738}">
      <dsp:nvSpPr>
        <dsp:cNvPr id="0" name=""/>
        <dsp:cNvSpPr/>
      </dsp:nvSpPr>
      <dsp:spPr>
        <a:xfrm>
          <a:off x="3481719" y="702676"/>
          <a:ext cx="1019485" cy="242591"/>
        </a:xfrm>
        <a:custGeom>
          <a:avLst/>
          <a:gdLst/>
          <a:ahLst/>
          <a:cxnLst/>
          <a:rect l="0" t="0" r="0" b="0"/>
          <a:pathLst>
            <a:path>
              <a:moveTo>
                <a:pt x="0" y="0"/>
              </a:moveTo>
              <a:lnTo>
                <a:pt x="0" y="165318"/>
              </a:lnTo>
              <a:lnTo>
                <a:pt x="1019485" y="165318"/>
              </a:lnTo>
              <a:lnTo>
                <a:pt x="1019485" y="2425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11383D-DE19-4346-82BB-15A4221F9962}">
      <dsp:nvSpPr>
        <dsp:cNvPr id="0" name=""/>
        <dsp:cNvSpPr/>
      </dsp:nvSpPr>
      <dsp:spPr>
        <a:xfrm>
          <a:off x="3435999" y="702676"/>
          <a:ext cx="91440" cy="242591"/>
        </a:xfrm>
        <a:custGeom>
          <a:avLst/>
          <a:gdLst/>
          <a:ahLst/>
          <a:cxnLst/>
          <a:rect l="0" t="0" r="0" b="0"/>
          <a:pathLst>
            <a:path>
              <a:moveTo>
                <a:pt x="45720" y="0"/>
              </a:moveTo>
              <a:lnTo>
                <a:pt x="45720" y="2425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5D8D4A3-859B-4811-8B95-08685ABDB1D9}">
      <dsp:nvSpPr>
        <dsp:cNvPr id="0" name=""/>
        <dsp:cNvSpPr/>
      </dsp:nvSpPr>
      <dsp:spPr>
        <a:xfrm>
          <a:off x="2462234" y="1474936"/>
          <a:ext cx="509742" cy="242591"/>
        </a:xfrm>
        <a:custGeom>
          <a:avLst/>
          <a:gdLst/>
          <a:ahLst/>
          <a:cxnLst/>
          <a:rect l="0" t="0" r="0" b="0"/>
          <a:pathLst>
            <a:path>
              <a:moveTo>
                <a:pt x="0" y="0"/>
              </a:moveTo>
              <a:lnTo>
                <a:pt x="0" y="165318"/>
              </a:lnTo>
              <a:lnTo>
                <a:pt x="509742" y="165318"/>
              </a:lnTo>
              <a:lnTo>
                <a:pt x="509742" y="24259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6B2AB3-9300-40CB-B6E2-9391590982EA}">
      <dsp:nvSpPr>
        <dsp:cNvPr id="0" name=""/>
        <dsp:cNvSpPr/>
      </dsp:nvSpPr>
      <dsp:spPr>
        <a:xfrm>
          <a:off x="1952491" y="1474936"/>
          <a:ext cx="509742" cy="242591"/>
        </a:xfrm>
        <a:custGeom>
          <a:avLst/>
          <a:gdLst/>
          <a:ahLst/>
          <a:cxnLst/>
          <a:rect l="0" t="0" r="0" b="0"/>
          <a:pathLst>
            <a:path>
              <a:moveTo>
                <a:pt x="509742" y="0"/>
              </a:moveTo>
              <a:lnTo>
                <a:pt x="509742" y="165318"/>
              </a:lnTo>
              <a:lnTo>
                <a:pt x="0" y="165318"/>
              </a:lnTo>
              <a:lnTo>
                <a:pt x="0" y="24259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F25BC5-B7F2-4245-A522-5D0EEDEDCBE6}">
      <dsp:nvSpPr>
        <dsp:cNvPr id="0" name=""/>
        <dsp:cNvSpPr/>
      </dsp:nvSpPr>
      <dsp:spPr>
        <a:xfrm>
          <a:off x="2462234" y="702676"/>
          <a:ext cx="1019485" cy="242591"/>
        </a:xfrm>
        <a:custGeom>
          <a:avLst/>
          <a:gdLst/>
          <a:ahLst/>
          <a:cxnLst/>
          <a:rect l="0" t="0" r="0" b="0"/>
          <a:pathLst>
            <a:path>
              <a:moveTo>
                <a:pt x="1019485" y="0"/>
              </a:moveTo>
              <a:lnTo>
                <a:pt x="1019485" y="165318"/>
              </a:lnTo>
              <a:lnTo>
                <a:pt x="0" y="165318"/>
              </a:lnTo>
              <a:lnTo>
                <a:pt x="0" y="2425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8C1D84-08CA-4801-88E6-8DCC2490B89E}">
      <dsp:nvSpPr>
        <dsp:cNvPr id="0" name=""/>
        <dsp:cNvSpPr/>
      </dsp:nvSpPr>
      <dsp:spPr>
        <a:xfrm>
          <a:off x="1442749" y="702676"/>
          <a:ext cx="2038970" cy="242591"/>
        </a:xfrm>
        <a:custGeom>
          <a:avLst/>
          <a:gdLst/>
          <a:ahLst/>
          <a:cxnLst/>
          <a:rect l="0" t="0" r="0" b="0"/>
          <a:pathLst>
            <a:path>
              <a:moveTo>
                <a:pt x="2038970" y="0"/>
              </a:moveTo>
              <a:lnTo>
                <a:pt x="2038970" y="165318"/>
              </a:lnTo>
              <a:lnTo>
                <a:pt x="0" y="165318"/>
              </a:lnTo>
              <a:lnTo>
                <a:pt x="0" y="2425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466879-87D4-4853-81EF-0663E1A06FF8}">
      <dsp:nvSpPr>
        <dsp:cNvPr id="0" name=""/>
        <dsp:cNvSpPr/>
      </dsp:nvSpPr>
      <dsp:spPr>
        <a:xfrm>
          <a:off x="423263" y="702676"/>
          <a:ext cx="3058455" cy="242591"/>
        </a:xfrm>
        <a:custGeom>
          <a:avLst/>
          <a:gdLst/>
          <a:ahLst/>
          <a:cxnLst/>
          <a:rect l="0" t="0" r="0" b="0"/>
          <a:pathLst>
            <a:path>
              <a:moveTo>
                <a:pt x="3058455" y="0"/>
              </a:moveTo>
              <a:lnTo>
                <a:pt x="3058455" y="165318"/>
              </a:lnTo>
              <a:lnTo>
                <a:pt x="0" y="165318"/>
              </a:lnTo>
              <a:lnTo>
                <a:pt x="0" y="2425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A74A57-CBFE-4C44-B03A-F8CE60235689}">
      <dsp:nvSpPr>
        <dsp:cNvPr id="0" name=""/>
        <dsp:cNvSpPr/>
      </dsp:nvSpPr>
      <dsp:spPr>
        <a:xfrm>
          <a:off x="3064657" y="17300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733E4B-7C2D-4058-8353-6E948F252C24}">
      <dsp:nvSpPr>
        <dsp:cNvPr id="0" name=""/>
        <dsp:cNvSpPr/>
      </dsp:nvSpPr>
      <dsp:spPr>
        <a:xfrm>
          <a:off x="3157338" y="26105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Deep learning</a:t>
          </a:r>
        </a:p>
      </dsp:txBody>
      <dsp:txXfrm>
        <a:off x="3172851" y="276566"/>
        <a:ext cx="803098" cy="498642"/>
      </dsp:txXfrm>
    </dsp:sp>
    <dsp:sp modelId="{5A5CB31D-D94F-499A-93BC-76E38105A4F3}">
      <dsp:nvSpPr>
        <dsp:cNvPr id="0" name=""/>
        <dsp:cNvSpPr/>
      </dsp:nvSpPr>
      <dsp:spPr>
        <a:xfrm>
          <a:off x="6201" y="94526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9AC33D-A649-475D-8783-E8384D47E8CE}">
      <dsp:nvSpPr>
        <dsp:cNvPr id="0" name=""/>
        <dsp:cNvSpPr/>
      </dsp:nvSpPr>
      <dsp:spPr>
        <a:xfrm>
          <a:off x="98882" y="103331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Convolutional </a:t>
          </a:r>
        </a:p>
      </dsp:txBody>
      <dsp:txXfrm>
        <a:off x="114395" y="1048826"/>
        <a:ext cx="803098" cy="498642"/>
      </dsp:txXfrm>
    </dsp:sp>
    <dsp:sp modelId="{F8E6CA54-7C84-4BFD-95F3-37FC628298BF}">
      <dsp:nvSpPr>
        <dsp:cNvPr id="0" name=""/>
        <dsp:cNvSpPr/>
      </dsp:nvSpPr>
      <dsp:spPr>
        <a:xfrm>
          <a:off x="1025686" y="94526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905AA6-DE24-44A0-A3F5-B6E84DD50D8A}">
      <dsp:nvSpPr>
        <dsp:cNvPr id="0" name=""/>
        <dsp:cNvSpPr/>
      </dsp:nvSpPr>
      <dsp:spPr>
        <a:xfrm>
          <a:off x="1118367" y="103331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Generative adversarial </a:t>
          </a:r>
        </a:p>
      </dsp:txBody>
      <dsp:txXfrm>
        <a:off x="1133880" y="1048826"/>
        <a:ext cx="803098" cy="498642"/>
      </dsp:txXfrm>
    </dsp:sp>
    <dsp:sp modelId="{A3A5C6E5-287B-426A-ADBC-E99138AAD59F}">
      <dsp:nvSpPr>
        <dsp:cNvPr id="0" name=""/>
        <dsp:cNvSpPr/>
      </dsp:nvSpPr>
      <dsp:spPr>
        <a:xfrm>
          <a:off x="2045172" y="94526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363E626-0075-4947-8670-AE40D05931B6}">
      <dsp:nvSpPr>
        <dsp:cNvPr id="0" name=""/>
        <dsp:cNvSpPr/>
      </dsp:nvSpPr>
      <dsp:spPr>
        <a:xfrm>
          <a:off x="2137852" y="103331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Recurrent</a:t>
          </a:r>
        </a:p>
      </dsp:txBody>
      <dsp:txXfrm>
        <a:off x="2153365" y="1048826"/>
        <a:ext cx="803098" cy="498642"/>
      </dsp:txXfrm>
    </dsp:sp>
    <dsp:sp modelId="{906C8E01-D89F-47D4-BEEC-4831EC6C26FA}">
      <dsp:nvSpPr>
        <dsp:cNvPr id="0" name=""/>
        <dsp:cNvSpPr/>
      </dsp:nvSpPr>
      <dsp:spPr>
        <a:xfrm>
          <a:off x="1535429" y="171752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5EC9386-7673-42AB-8452-1FB44D116ADB}">
      <dsp:nvSpPr>
        <dsp:cNvPr id="0" name=""/>
        <dsp:cNvSpPr/>
      </dsp:nvSpPr>
      <dsp:spPr>
        <a:xfrm>
          <a:off x="1628110" y="180557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LSTM</a:t>
          </a:r>
        </a:p>
      </dsp:txBody>
      <dsp:txXfrm>
        <a:off x="1643623" y="1821086"/>
        <a:ext cx="803098" cy="498642"/>
      </dsp:txXfrm>
    </dsp:sp>
    <dsp:sp modelId="{208E92D7-EFDA-4E7C-A677-C4C7E80C4562}">
      <dsp:nvSpPr>
        <dsp:cNvPr id="0" name=""/>
        <dsp:cNvSpPr/>
      </dsp:nvSpPr>
      <dsp:spPr>
        <a:xfrm>
          <a:off x="2554914" y="171752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CFBF57-8D35-4B4D-A32D-B5E3268BC63F}">
      <dsp:nvSpPr>
        <dsp:cNvPr id="0" name=""/>
        <dsp:cNvSpPr/>
      </dsp:nvSpPr>
      <dsp:spPr>
        <a:xfrm>
          <a:off x="2647595" y="180557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Bi-directional</a:t>
          </a:r>
        </a:p>
      </dsp:txBody>
      <dsp:txXfrm>
        <a:off x="2663108" y="1821086"/>
        <a:ext cx="803098" cy="498642"/>
      </dsp:txXfrm>
    </dsp:sp>
    <dsp:sp modelId="{88CF22B0-7529-43C3-BA96-951687FC10D1}">
      <dsp:nvSpPr>
        <dsp:cNvPr id="0" name=""/>
        <dsp:cNvSpPr/>
      </dsp:nvSpPr>
      <dsp:spPr>
        <a:xfrm>
          <a:off x="3064657" y="94526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F9629E-6907-4921-9124-B0289C66B2B0}">
      <dsp:nvSpPr>
        <dsp:cNvPr id="0" name=""/>
        <dsp:cNvSpPr/>
      </dsp:nvSpPr>
      <dsp:spPr>
        <a:xfrm>
          <a:off x="3157338" y="103331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Deep belief</a:t>
          </a:r>
        </a:p>
      </dsp:txBody>
      <dsp:txXfrm>
        <a:off x="3172851" y="1048826"/>
        <a:ext cx="803098" cy="498642"/>
      </dsp:txXfrm>
    </dsp:sp>
    <dsp:sp modelId="{253608AE-D444-41E3-ABB8-CF5E2398A556}">
      <dsp:nvSpPr>
        <dsp:cNvPr id="0" name=""/>
        <dsp:cNvSpPr/>
      </dsp:nvSpPr>
      <dsp:spPr>
        <a:xfrm>
          <a:off x="4084142" y="94526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3152DC-D874-4B4E-BEDF-57DDBE877DEB}">
      <dsp:nvSpPr>
        <dsp:cNvPr id="0" name=""/>
        <dsp:cNvSpPr/>
      </dsp:nvSpPr>
      <dsp:spPr>
        <a:xfrm>
          <a:off x="4176823" y="103331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Deep Boltzmann </a:t>
          </a:r>
        </a:p>
      </dsp:txBody>
      <dsp:txXfrm>
        <a:off x="4192336" y="1048826"/>
        <a:ext cx="803098" cy="498642"/>
      </dsp:txXfrm>
    </dsp:sp>
    <dsp:sp modelId="{C7FED918-BFF2-4714-9941-F1CB49E17A87}">
      <dsp:nvSpPr>
        <dsp:cNvPr id="0" name=""/>
        <dsp:cNvSpPr/>
      </dsp:nvSpPr>
      <dsp:spPr>
        <a:xfrm>
          <a:off x="5103628" y="94526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88E6BB-C782-4A0F-AD73-E7C5F366E902}">
      <dsp:nvSpPr>
        <dsp:cNvPr id="0" name=""/>
        <dsp:cNvSpPr/>
      </dsp:nvSpPr>
      <dsp:spPr>
        <a:xfrm>
          <a:off x="5196308" y="103331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Autoencoders</a:t>
          </a:r>
        </a:p>
      </dsp:txBody>
      <dsp:txXfrm>
        <a:off x="5211821" y="1048826"/>
        <a:ext cx="803098" cy="498642"/>
      </dsp:txXfrm>
    </dsp:sp>
    <dsp:sp modelId="{C1FDB298-18F8-485D-8507-F7C5662AD803}">
      <dsp:nvSpPr>
        <dsp:cNvPr id="0" name=""/>
        <dsp:cNvSpPr/>
      </dsp:nvSpPr>
      <dsp:spPr>
        <a:xfrm>
          <a:off x="6123113" y="945267"/>
          <a:ext cx="834124" cy="5296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2BADAF8-9DAA-4ABD-ABDB-6BAC74D2E2A4}">
      <dsp:nvSpPr>
        <dsp:cNvPr id="0" name=""/>
        <dsp:cNvSpPr/>
      </dsp:nvSpPr>
      <dsp:spPr>
        <a:xfrm>
          <a:off x="6215793" y="1033313"/>
          <a:ext cx="834124" cy="5296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CA" sz="800" kern="1200" dirty="0"/>
            <a:t>Representation learning</a:t>
          </a:r>
        </a:p>
      </dsp:txBody>
      <dsp:txXfrm>
        <a:off x="6231306" y="1048826"/>
        <a:ext cx="803098" cy="4986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0EA006-2A48-4945-A0DD-4E4925C2C230}">
      <dsp:nvSpPr>
        <dsp:cNvPr id="0" name=""/>
        <dsp:cNvSpPr/>
      </dsp:nvSpPr>
      <dsp:spPr>
        <a:xfrm>
          <a:off x="3258313" y="557545"/>
          <a:ext cx="2145726" cy="255292"/>
        </a:xfrm>
        <a:custGeom>
          <a:avLst/>
          <a:gdLst/>
          <a:ahLst/>
          <a:cxnLst/>
          <a:rect l="0" t="0" r="0" b="0"/>
          <a:pathLst>
            <a:path>
              <a:moveTo>
                <a:pt x="0" y="0"/>
              </a:moveTo>
              <a:lnTo>
                <a:pt x="0" y="173974"/>
              </a:lnTo>
              <a:lnTo>
                <a:pt x="2145726" y="173974"/>
              </a:lnTo>
              <a:lnTo>
                <a:pt x="2145726" y="25529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11A9883-E6A6-4CC2-9E06-0030FDEB6701}">
      <dsp:nvSpPr>
        <dsp:cNvPr id="0" name=""/>
        <dsp:cNvSpPr/>
      </dsp:nvSpPr>
      <dsp:spPr>
        <a:xfrm>
          <a:off x="3258313" y="557545"/>
          <a:ext cx="1072863" cy="255292"/>
        </a:xfrm>
        <a:custGeom>
          <a:avLst/>
          <a:gdLst/>
          <a:ahLst/>
          <a:cxnLst/>
          <a:rect l="0" t="0" r="0" b="0"/>
          <a:pathLst>
            <a:path>
              <a:moveTo>
                <a:pt x="0" y="0"/>
              </a:moveTo>
              <a:lnTo>
                <a:pt x="0" y="173974"/>
              </a:lnTo>
              <a:lnTo>
                <a:pt x="1072863" y="173974"/>
              </a:lnTo>
              <a:lnTo>
                <a:pt x="1072863" y="25529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B9C199F-85F3-4FA6-A84E-3605E8CBE161}">
      <dsp:nvSpPr>
        <dsp:cNvPr id="0" name=""/>
        <dsp:cNvSpPr/>
      </dsp:nvSpPr>
      <dsp:spPr>
        <a:xfrm>
          <a:off x="3212593" y="557545"/>
          <a:ext cx="91440" cy="255292"/>
        </a:xfrm>
        <a:custGeom>
          <a:avLst/>
          <a:gdLst/>
          <a:ahLst/>
          <a:cxnLst/>
          <a:rect l="0" t="0" r="0" b="0"/>
          <a:pathLst>
            <a:path>
              <a:moveTo>
                <a:pt x="45720" y="0"/>
              </a:moveTo>
              <a:lnTo>
                <a:pt x="45720" y="25529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52A9C2-AF14-4D90-9C3F-E15B541292A8}">
      <dsp:nvSpPr>
        <dsp:cNvPr id="0" name=""/>
        <dsp:cNvSpPr/>
      </dsp:nvSpPr>
      <dsp:spPr>
        <a:xfrm>
          <a:off x="2185450" y="557545"/>
          <a:ext cx="1072863" cy="255292"/>
        </a:xfrm>
        <a:custGeom>
          <a:avLst/>
          <a:gdLst/>
          <a:ahLst/>
          <a:cxnLst/>
          <a:rect l="0" t="0" r="0" b="0"/>
          <a:pathLst>
            <a:path>
              <a:moveTo>
                <a:pt x="1072863" y="0"/>
              </a:moveTo>
              <a:lnTo>
                <a:pt x="1072863" y="173974"/>
              </a:lnTo>
              <a:lnTo>
                <a:pt x="0" y="173974"/>
              </a:lnTo>
              <a:lnTo>
                <a:pt x="0" y="25529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5FF347-1085-4476-A276-DE07504F316B}">
      <dsp:nvSpPr>
        <dsp:cNvPr id="0" name=""/>
        <dsp:cNvSpPr/>
      </dsp:nvSpPr>
      <dsp:spPr>
        <a:xfrm>
          <a:off x="1112586" y="557545"/>
          <a:ext cx="2145726" cy="255292"/>
        </a:xfrm>
        <a:custGeom>
          <a:avLst/>
          <a:gdLst/>
          <a:ahLst/>
          <a:cxnLst/>
          <a:rect l="0" t="0" r="0" b="0"/>
          <a:pathLst>
            <a:path>
              <a:moveTo>
                <a:pt x="2145726" y="0"/>
              </a:moveTo>
              <a:lnTo>
                <a:pt x="2145726" y="173974"/>
              </a:lnTo>
              <a:lnTo>
                <a:pt x="0" y="173974"/>
              </a:lnTo>
              <a:lnTo>
                <a:pt x="0" y="25529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A74A57-CBFE-4C44-B03A-F8CE60235689}">
      <dsp:nvSpPr>
        <dsp:cNvPr id="0" name=""/>
        <dsp:cNvSpPr/>
      </dsp:nvSpPr>
      <dsp:spPr>
        <a:xfrm>
          <a:off x="2819414" y="144"/>
          <a:ext cx="877797" cy="55740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733E4B-7C2D-4058-8353-6E948F252C24}">
      <dsp:nvSpPr>
        <dsp:cNvPr id="0" name=""/>
        <dsp:cNvSpPr/>
      </dsp:nvSpPr>
      <dsp:spPr>
        <a:xfrm>
          <a:off x="2916947" y="92800"/>
          <a:ext cx="877797" cy="55740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dirty="0"/>
            <a:t>Reinforcement leaning </a:t>
          </a:r>
        </a:p>
      </dsp:txBody>
      <dsp:txXfrm>
        <a:off x="2933273" y="109126"/>
        <a:ext cx="845145" cy="524749"/>
      </dsp:txXfrm>
    </dsp:sp>
    <dsp:sp modelId="{42387234-89CA-42CC-8913-2908CB163169}">
      <dsp:nvSpPr>
        <dsp:cNvPr id="0" name=""/>
        <dsp:cNvSpPr/>
      </dsp:nvSpPr>
      <dsp:spPr>
        <a:xfrm>
          <a:off x="673688" y="812838"/>
          <a:ext cx="877797" cy="55740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52F830A-FCB5-4904-ABA9-754F95298182}">
      <dsp:nvSpPr>
        <dsp:cNvPr id="0" name=""/>
        <dsp:cNvSpPr/>
      </dsp:nvSpPr>
      <dsp:spPr>
        <a:xfrm>
          <a:off x="771221" y="905494"/>
          <a:ext cx="877797" cy="55740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dirty="0"/>
            <a:t>Monte Carlo methods</a:t>
          </a:r>
        </a:p>
      </dsp:txBody>
      <dsp:txXfrm>
        <a:off x="787547" y="921820"/>
        <a:ext cx="845145" cy="524749"/>
      </dsp:txXfrm>
    </dsp:sp>
    <dsp:sp modelId="{835D84D4-379D-4004-B5BB-FA60F9D27AE8}">
      <dsp:nvSpPr>
        <dsp:cNvPr id="0" name=""/>
        <dsp:cNvSpPr/>
      </dsp:nvSpPr>
      <dsp:spPr>
        <a:xfrm>
          <a:off x="1746551" y="812838"/>
          <a:ext cx="877797" cy="55740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070906-8E94-4500-81A4-67ABD505B532}">
      <dsp:nvSpPr>
        <dsp:cNvPr id="0" name=""/>
        <dsp:cNvSpPr/>
      </dsp:nvSpPr>
      <dsp:spPr>
        <a:xfrm>
          <a:off x="1844084" y="905494"/>
          <a:ext cx="877797" cy="55740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dirty="0"/>
            <a:t>Temporal deference methods</a:t>
          </a:r>
        </a:p>
      </dsp:txBody>
      <dsp:txXfrm>
        <a:off x="1860410" y="921820"/>
        <a:ext cx="845145" cy="524749"/>
      </dsp:txXfrm>
    </dsp:sp>
    <dsp:sp modelId="{E2CC126D-93B5-442B-9AE2-A676772DC1B2}">
      <dsp:nvSpPr>
        <dsp:cNvPr id="0" name=""/>
        <dsp:cNvSpPr/>
      </dsp:nvSpPr>
      <dsp:spPr>
        <a:xfrm>
          <a:off x="2819414" y="812838"/>
          <a:ext cx="877797" cy="55740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85165F-8AAD-4FCF-A4E6-DE6C762D7239}">
      <dsp:nvSpPr>
        <dsp:cNvPr id="0" name=""/>
        <dsp:cNvSpPr/>
      </dsp:nvSpPr>
      <dsp:spPr>
        <a:xfrm>
          <a:off x="2916947" y="905494"/>
          <a:ext cx="877797" cy="55740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dirty="0"/>
            <a:t>Q-learning</a:t>
          </a:r>
        </a:p>
      </dsp:txBody>
      <dsp:txXfrm>
        <a:off x="2933273" y="921820"/>
        <a:ext cx="845145" cy="524749"/>
      </dsp:txXfrm>
    </dsp:sp>
    <dsp:sp modelId="{1744B771-F4BA-4B29-8FB4-25514107C18C}">
      <dsp:nvSpPr>
        <dsp:cNvPr id="0" name=""/>
        <dsp:cNvSpPr/>
      </dsp:nvSpPr>
      <dsp:spPr>
        <a:xfrm>
          <a:off x="3892278" y="812838"/>
          <a:ext cx="877797" cy="55740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B94716-FB65-475D-9873-AA1226482688}">
      <dsp:nvSpPr>
        <dsp:cNvPr id="0" name=""/>
        <dsp:cNvSpPr/>
      </dsp:nvSpPr>
      <dsp:spPr>
        <a:xfrm>
          <a:off x="3989811" y="905494"/>
          <a:ext cx="877797" cy="55740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dirty="0"/>
            <a:t>Dynamic programming</a:t>
          </a:r>
        </a:p>
      </dsp:txBody>
      <dsp:txXfrm>
        <a:off x="4006137" y="921820"/>
        <a:ext cx="845145" cy="524749"/>
      </dsp:txXfrm>
    </dsp:sp>
    <dsp:sp modelId="{A94E7799-FC93-4FD5-884A-97CC95B026C1}">
      <dsp:nvSpPr>
        <dsp:cNvPr id="0" name=""/>
        <dsp:cNvSpPr/>
      </dsp:nvSpPr>
      <dsp:spPr>
        <a:xfrm>
          <a:off x="4965141" y="812838"/>
          <a:ext cx="877797" cy="55740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39BFBD2-4A88-474B-B1EA-9E9DB0882A01}">
      <dsp:nvSpPr>
        <dsp:cNvPr id="0" name=""/>
        <dsp:cNvSpPr/>
      </dsp:nvSpPr>
      <dsp:spPr>
        <a:xfrm>
          <a:off x="5062674" y="905494"/>
          <a:ext cx="877797" cy="55740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CA" sz="900" kern="1200" dirty="0"/>
            <a:t>Continuous space</a:t>
          </a:r>
        </a:p>
      </dsp:txBody>
      <dsp:txXfrm>
        <a:off x="5079000" y="921820"/>
        <a:ext cx="845145" cy="52474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78FA2A-3CDA-450C-8ADF-D75C1A74A715}">
      <dsp:nvSpPr>
        <dsp:cNvPr id="0" name=""/>
        <dsp:cNvSpPr/>
      </dsp:nvSpPr>
      <dsp:spPr>
        <a:xfrm>
          <a:off x="1705" y="221646"/>
          <a:ext cx="1517496" cy="60699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CA" sz="1000" kern="1200" dirty="0"/>
            <a:t>Collect Data</a:t>
          </a:r>
        </a:p>
      </dsp:txBody>
      <dsp:txXfrm>
        <a:off x="305204" y="221646"/>
        <a:ext cx="910498" cy="606998"/>
      </dsp:txXfrm>
    </dsp:sp>
    <dsp:sp modelId="{FC3CF130-F108-4F32-ACED-5FFE75108CA7}">
      <dsp:nvSpPr>
        <dsp:cNvPr id="0" name=""/>
        <dsp:cNvSpPr/>
      </dsp:nvSpPr>
      <dsp:spPr>
        <a:xfrm>
          <a:off x="1367452" y="221646"/>
          <a:ext cx="1517496" cy="60699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CA" sz="1000" kern="1200" dirty="0"/>
            <a:t>Text Parsing</a:t>
          </a:r>
        </a:p>
      </dsp:txBody>
      <dsp:txXfrm>
        <a:off x="1670951" y="221646"/>
        <a:ext cx="910498" cy="606998"/>
      </dsp:txXfrm>
    </dsp:sp>
    <dsp:sp modelId="{0DE6DE5B-7D55-4EC4-BA19-8AEBDEC2C63A}">
      <dsp:nvSpPr>
        <dsp:cNvPr id="0" name=""/>
        <dsp:cNvSpPr/>
      </dsp:nvSpPr>
      <dsp:spPr>
        <a:xfrm>
          <a:off x="2733199" y="221646"/>
          <a:ext cx="1517496" cy="60699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CA" sz="1000" kern="1200" dirty="0"/>
            <a:t>Text  Filtering</a:t>
          </a:r>
        </a:p>
      </dsp:txBody>
      <dsp:txXfrm>
        <a:off x="3036698" y="221646"/>
        <a:ext cx="910498" cy="606998"/>
      </dsp:txXfrm>
    </dsp:sp>
    <dsp:sp modelId="{D2948D99-7D24-4420-A7C4-662BE7E5D9FD}">
      <dsp:nvSpPr>
        <dsp:cNvPr id="0" name=""/>
        <dsp:cNvSpPr/>
      </dsp:nvSpPr>
      <dsp:spPr>
        <a:xfrm>
          <a:off x="4098946" y="221646"/>
          <a:ext cx="1517496" cy="60699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CA" sz="1000" kern="1200" dirty="0"/>
            <a:t>Transformation</a:t>
          </a:r>
        </a:p>
      </dsp:txBody>
      <dsp:txXfrm>
        <a:off x="4402445" y="221646"/>
        <a:ext cx="910498" cy="606998"/>
      </dsp:txXfrm>
    </dsp:sp>
    <dsp:sp modelId="{C5446659-5C3A-410C-BFC6-F4BC38C662E1}">
      <dsp:nvSpPr>
        <dsp:cNvPr id="0" name=""/>
        <dsp:cNvSpPr/>
      </dsp:nvSpPr>
      <dsp:spPr>
        <a:xfrm>
          <a:off x="5464694" y="221646"/>
          <a:ext cx="1517496" cy="60699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CA" sz="1000" kern="1200" dirty="0"/>
            <a:t>Text Mining</a:t>
          </a:r>
        </a:p>
      </dsp:txBody>
      <dsp:txXfrm>
        <a:off x="5768193" y="221646"/>
        <a:ext cx="910498" cy="60699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D9448-E328-4F6A-8A59-9104D555764F}">
      <dsp:nvSpPr>
        <dsp:cNvPr id="0" name=""/>
        <dsp:cNvSpPr/>
      </dsp:nvSpPr>
      <dsp:spPr>
        <a:xfrm>
          <a:off x="744110" y="569"/>
          <a:ext cx="2610256" cy="15661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CA" sz="1700" kern="1200" dirty="0"/>
            <a:t>Python crash course</a:t>
          </a:r>
        </a:p>
        <a:p>
          <a:pPr marL="114300" lvl="1" indent="-114300" algn="l" defTabSz="577850">
            <a:lnSpc>
              <a:spcPct val="90000"/>
            </a:lnSpc>
            <a:spcBef>
              <a:spcPct val="0"/>
            </a:spcBef>
            <a:spcAft>
              <a:spcPct val="15000"/>
            </a:spcAft>
            <a:buChar char="•"/>
          </a:pPr>
          <a:r>
            <a:rPr lang="en-CA" sz="1300" kern="1200" dirty="0"/>
            <a:t>Objects and classes</a:t>
          </a:r>
        </a:p>
        <a:p>
          <a:pPr marL="114300" lvl="1" indent="-114300" algn="l" defTabSz="577850">
            <a:lnSpc>
              <a:spcPct val="90000"/>
            </a:lnSpc>
            <a:spcBef>
              <a:spcPct val="0"/>
            </a:spcBef>
            <a:spcAft>
              <a:spcPct val="15000"/>
            </a:spcAft>
            <a:buChar char="•"/>
          </a:pPr>
          <a:r>
            <a:rPr lang="en-CA" sz="1300" kern="1200" dirty="0"/>
            <a:t>Data elements</a:t>
          </a:r>
        </a:p>
        <a:p>
          <a:pPr marL="114300" lvl="1" indent="-114300" algn="l" defTabSz="577850">
            <a:lnSpc>
              <a:spcPct val="90000"/>
            </a:lnSpc>
            <a:spcBef>
              <a:spcPct val="0"/>
            </a:spcBef>
            <a:spcAft>
              <a:spcPct val="15000"/>
            </a:spcAft>
            <a:buChar char="•"/>
          </a:pPr>
          <a:r>
            <a:rPr lang="en-CA" sz="1300" kern="1200" dirty="0"/>
            <a:t>Functions &amp; methods</a:t>
          </a:r>
        </a:p>
        <a:p>
          <a:pPr marL="114300" lvl="1" indent="-114300" algn="l" defTabSz="577850">
            <a:lnSpc>
              <a:spcPct val="90000"/>
            </a:lnSpc>
            <a:spcBef>
              <a:spcPct val="0"/>
            </a:spcBef>
            <a:spcAft>
              <a:spcPct val="15000"/>
            </a:spcAft>
            <a:buChar char="•"/>
          </a:pPr>
          <a:r>
            <a:rPr lang="en-CA" sz="1300" kern="1200" dirty="0"/>
            <a:t>Applications and packages</a:t>
          </a:r>
        </a:p>
      </dsp:txBody>
      <dsp:txXfrm>
        <a:off x="744110" y="569"/>
        <a:ext cx="2610256" cy="1566154"/>
      </dsp:txXfrm>
    </dsp:sp>
    <dsp:sp modelId="{E1949051-0536-45DA-94CC-84E94F4B9FCE}">
      <dsp:nvSpPr>
        <dsp:cNvPr id="0" name=""/>
        <dsp:cNvSpPr/>
      </dsp:nvSpPr>
      <dsp:spPr>
        <a:xfrm>
          <a:off x="3615392" y="569"/>
          <a:ext cx="2610256" cy="15661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CA" sz="1700" kern="1200"/>
            <a:t>Data analytics libraries</a:t>
          </a:r>
        </a:p>
        <a:p>
          <a:pPr marL="114300" lvl="1" indent="-114300" algn="l" defTabSz="577850">
            <a:lnSpc>
              <a:spcPct val="90000"/>
            </a:lnSpc>
            <a:spcBef>
              <a:spcPct val="0"/>
            </a:spcBef>
            <a:spcAft>
              <a:spcPct val="15000"/>
            </a:spcAft>
            <a:buChar char="•"/>
          </a:pPr>
          <a:r>
            <a:rPr lang="en-CA" sz="1300" kern="1200" dirty="0" err="1">
              <a:solidFill>
                <a:srgbClr val="FF0000"/>
              </a:solidFill>
            </a:rPr>
            <a:t>Numpy</a:t>
          </a:r>
          <a:endParaRPr lang="en-CA" sz="1300" kern="1200" dirty="0">
            <a:solidFill>
              <a:srgbClr val="FF0000"/>
            </a:solidFill>
          </a:endParaRPr>
        </a:p>
        <a:p>
          <a:pPr marL="114300" lvl="1" indent="-114300" algn="l" defTabSz="577850">
            <a:lnSpc>
              <a:spcPct val="90000"/>
            </a:lnSpc>
            <a:spcBef>
              <a:spcPct val="0"/>
            </a:spcBef>
            <a:spcAft>
              <a:spcPct val="15000"/>
            </a:spcAft>
            <a:buChar char="•"/>
          </a:pPr>
          <a:r>
            <a:rPr lang="en-CA" sz="1300" kern="1200" dirty="0" err="1">
              <a:solidFill>
                <a:srgbClr val="FF0000"/>
              </a:solidFill>
            </a:rPr>
            <a:t>Scipy</a:t>
          </a:r>
          <a:endParaRPr lang="en-CA" sz="1300" kern="1200" dirty="0">
            <a:solidFill>
              <a:srgbClr val="FF0000"/>
            </a:solidFill>
          </a:endParaRPr>
        </a:p>
        <a:p>
          <a:pPr marL="114300" lvl="1" indent="-114300" algn="l" defTabSz="577850">
            <a:lnSpc>
              <a:spcPct val="90000"/>
            </a:lnSpc>
            <a:spcBef>
              <a:spcPct val="0"/>
            </a:spcBef>
            <a:spcAft>
              <a:spcPct val="15000"/>
            </a:spcAft>
            <a:buChar char="•"/>
          </a:pPr>
          <a:r>
            <a:rPr lang="en-CA" sz="1300" kern="1200" dirty="0">
              <a:solidFill>
                <a:srgbClr val="FF0000"/>
              </a:solidFill>
            </a:rPr>
            <a:t>Pandas</a:t>
          </a:r>
        </a:p>
      </dsp:txBody>
      <dsp:txXfrm>
        <a:off x="3615392" y="569"/>
        <a:ext cx="2610256" cy="1566154"/>
      </dsp:txXfrm>
    </dsp:sp>
    <dsp:sp modelId="{29FC9AEB-CF88-447A-90A4-A0CD965245BF}">
      <dsp:nvSpPr>
        <dsp:cNvPr id="0" name=""/>
        <dsp:cNvSpPr/>
      </dsp:nvSpPr>
      <dsp:spPr>
        <a:xfrm>
          <a:off x="744110" y="1827748"/>
          <a:ext cx="2610256" cy="15661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CA" sz="1700" kern="1200"/>
            <a:t>Data visualization libraries</a:t>
          </a:r>
        </a:p>
        <a:p>
          <a:pPr marL="114300" lvl="1" indent="-114300" algn="l" defTabSz="577850">
            <a:lnSpc>
              <a:spcPct val="90000"/>
            </a:lnSpc>
            <a:spcBef>
              <a:spcPct val="0"/>
            </a:spcBef>
            <a:spcAft>
              <a:spcPct val="15000"/>
            </a:spcAft>
            <a:buChar char="•"/>
          </a:pPr>
          <a:r>
            <a:rPr lang="en-CA" sz="1300" kern="1200"/>
            <a:t>Seaborn</a:t>
          </a:r>
        </a:p>
        <a:p>
          <a:pPr marL="114300" lvl="1" indent="-114300" algn="l" defTabSz="577850">
            <a:lnSpc>
              <a:spcPct val="90000"/>
            </a:lnSpc>
            <a:spcBef>
              <a:spcPct val="0"/>
            </a:spcBef>
            <a:spcAft>
              <a:spcPct val="15000"/>
            </a:spcAft>
            <a:buChar char="•"/>
          </a:pPr>
          <a:r>
            <a:rPr lang="en-CA" sz="1300" kern="1200" dirty="0">
              <a:solidFill>
                <a:srgbClr val="FF0000"/>
              </a:solidFill>
            </a:rPr>
            <a:t>Matplotlib</a:t>
          </a:r>
        </a:p>
        <a:p>
          <a:pPr marL="114300" lvl="1" indent="-114300" algn="l" defTabSz="577850">
            <a:lnSpc>
              <a:spcPct val="90000"/>
            </a:lnSpc>
            <a:spcBef>
              <a:spcPct val="0"/>
            </a:spcBef>
            <a:spcAft>
              <a:spcPct val="15000"/>
            </a:spcAft>
            <a:buChar char="•"/>
          </a:pPr>
          <a:r>
            <a:rPr lang="en-CA" sz="1300" kern="1200" dirty="0" err="1"/>
            <a:t>PyPlot</a:t>
          </a:r>
          <a:endParaRPr lang="en-CA" sz="1300" kern="1200" dirty="0"/>
        </a:p>
        <a:p>
          <a:pPr marL="114300" lvl="1" indent="-114300" algn="l" defTabSz="577850">
            <a:lnSpc>
              <a:spcPct val="90000"/>
            </a:lnSpc>
            <a:spcBef>
              <a:spcPct val="0"/>
            </a:spcBef>
            <a:spcAft>
              <a:spcPct val="15000"/>
            </a:spcAft>
            <a:buChar char="•"/>
          </a:pPr>
          <a:r>
            <a:rPr lang="en-CA" sz="1300" kern="1200"/>
            <a:t>Cufflinks</a:t>
          </a:r>
        </a:p>
      </dsp:txBody>
      <dsp:txXfrm>
        <a:off x="744110" y="1827748"/>
        <a:ext cx="2610256" cy="1566154"/>
      </dsp:txXfrm>
    </dsp:sp>
    <dsp:sp modelId="{68F3DE5B-6702-462E-9A98-9DF4F1198E3F}">
      <dsp:nvSpPr>
        <dsp:cNvPr id="0" name=""/>
        <dsp:cNvSpPr/>
      </dsp:nvSpPr>
      <dsp:spPr>
        <a:xfrm>
          <a:off x="3615392" y="1827748"/>
          <a:ext cx="2610256" cy="15661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CA" sz="1700" kern="1200"/>
            <a:t>Machine learning libraries</a:t>
          </a:r>
        </a:p>
        <a:p>
          <a:pPr marL="114300" lvl="1" indent="-114300" algn="l" defTabSz="577850">
            <a:lnSpc>
              <a:spcPct val="90000"/>
            </a:lnSpc>
            <a:spcBef>
              <a:spcPct val="0"/>
            </a:spcBef>
            <a:spcAft>
              <a:spcPct val="15000"/>
            </a:spcAft>
            <a:buChar char="•"/>
          </a:pPr>
          <a:r>
            <a:rPr lang="en-CA" sz="1300" kern="1200" dirty="0" err="1">
              <a:solidFill>
                <a:srgbClr val="FF0000"/>
              </a:solidFill>
            </a:rPr>
            <a:t>Scikit</a:t>
          </a:r>
          <a:r>
            <a:rPr lang="en-CA" sz="1300" kern="1200" dirty="0">
              <a:solidFill>
                <a:srgbClr val="FF0000"/>
              </a:solidFill>
            </a:rPr>
            <a:t>-learn</a:t>
          </a:r>
        </a:p>
        <a:p>
          <a:pPr marL="114300" lvl="1" indent="-114300" algn="l" defTabSz="577850">
            <a:lnSpc>
              <a:spcPct val="90000"/>
            </a:lnSpc>
            <a:spcBef>
              <a:spcPct val="0"/>
            </a:spcBef>
            <a:spcAft>
              <a:spcPct val="15000"/>
            </a:spcAft>
            <a:buChar char="•"/>
          </a:pPr>
          <a:r>
            <a:rPr lang="en-CA" sz="1300" kern="1200" dirty="0"/>
            <a:t>H2O</a:t>
          </a:r>
        </a:p>
        <a:p>
          <a:pPr marL="114300" lvl="1" indent="-114300" algn="l" defTabSz="577850">
            <a:lnSpc>
              <a:spcPct val="90000"/>
            </a:lnSpc>
            <a:spcBef>
              <a:spcPct val="0"/>
            </a:spcBef>
            <a:spcAft>
              <a:spcPct val="15000"/>
            </a:spcAft>
            <a:buChar char="•"/>
          </a:pPr>
          <a:r>
            <a:rPr lang="en-CA" sz="1300" kern="1200" dirty="0" err="1"/>
            <a:t>PyTorch</a:t>
          </a:r>
          <a:endParaRPr lang="en-CA" sz="1300" kern="1200" dirty="0"/>
        </a:p>
        <a:p>
          <a:pPr marL="114300" lvl="1" indent="-114300" algn="l" defTabSz="577850">
            <a:lnSpc>
              <a:spcPct val="90000"/>
            </a:lnSpc>
            <a:spcBef>
              <a:spcPct val="0"/>
            </a:spcBef>
            <a:spcAft>
              <a:spcPct val="15000"/>
            </a:spcAft>
            <a:buChar char="•"/>
          </a:pPr>
          <a:r>
            <a:rPr lang="en-CA" sz="1300" kern="1200" dirty="0" err="1">
              <a:solidFill>
                <a:srgbClr val="FF0000"/>
              </a:solidFill>
            </a:rPr>
            <a:t>Tensorflow</a:t>
          </a:r>
          <a:endParaRPr lang="en-CA" sz="1300" kern="1200" dirty="0">
            <a:solidFill>
              <a:srgbClr val="FF0000"/>
            </a:solidFill>
          </a:endParaRPr>
        </a:p>
        <a:p>
          <a:pPr marL="114300" lvl="1" indent="-114300" algn="l" defTabSz="577850" rtl="0">
            <a:lnSpc>
              <a:spcPct val="90000"/>
            </a:lnSpc>
            <a:spcBef>
              <a:spcPct val="0"/>
            </a:spcBef>
            <a:spcAft>
              <a:spcPct val="15000"/>
            </a:spcAft>
            <a:buChar char="•"/>
          </a:pPr>
          <a:r>
            <a:rPr lang="en-CA" sz="1300" kern="1200" dirty="0" err="1">
              <a:solidFill>
                <a:srgbClr val="FF0000"/>
              </a:solidFill>
            </a:rPr>
            <a:t>Keras</a:t>
          </a:r>
          <a:endParaRPr lang="en-CA" sz="1300" kern="1200" dirty="0">
            <a:solidFill>
              <a:srgbClr val="FF0000"/>
            </a:solidFill>
          </a:endParaRPr>
        </a:p>
      </dsp:txBody>
      <dsp:txXfrm>
        <a:off x="3615392" y="1827748"/>
        <a:ext cx="2610256" cy="156615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48396A-1F0A-4774-B8FE-C07FE4636A65}" type="datetimeFigureOut">
              <a:rPr lang="en-US" smtClean="0"/>
              <a:t>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BD007-FD5F-44AB-887D-F160FB49A0B4}" type="slidenum">
              <a:rPr lang="en-US" smtClean="0"/>
              <a:t>‹#›</a:t>
            </a:fld>
            <a:endParaRPr lang="en-US"/>
          </a:p>
        </p:txBody>
      </p:sp>
    </p:spTree>
    <p:extLst>
      <p:ext uri="{BB962C8B-B14F-4D97-AF65-F5344CB8AC3E}">
        <p14:creationId xmlns:p14="http://schemas.microsoft.com/office/powerpoint/2010/main" val="2714334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BB98AFB-CB0D-4DFE-87B9-B4B0D0DE73CD}" type="slidenum">
              <a:rPr lang="en-CA" smtClean="0"/>
              <a:t>2</a:t>
            </a:fld>
            <a:endParaRPr lang="en-CA"/>
          </a:p>
        </p:txBody>
      </p:sp>
    </p:spTree>
    <p:extLst>
      <p:ext uri="{BB962C8B-B14F-4D97-AF65-F5344CB8AC3E}">
        <p14:creationId xmlns:p14="http://schemas.microsoft.com/office/powerpoint/2010/main" val="4173179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6" name="Shape 7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922159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Shape 7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6" name="Shape 76"/>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31271054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Big Data Analytics - Title Slide - Backgroun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968" cy="5143500"/>
          </a:xfrm>
          <a:prstGeom prst="rect">
            <a:avLst/>
          </a:prstGeom>
        </p:spPr>
      </p:pic>
      <p:sp>
        <p:nvSpPr>
          <p:cNvPr id="2" name="Title 1"/>
          <p:cNvSpPr>
            <a:spLocks noGrp="1"/>
          </p:cNvSpPr>
          <p:nvPr>
            <p:ph type="ctrTitle"/>
          </p:nvPr>
        </p:nvSpPr>
        <p:spPr>
          <a:xfrm>
            <a:off x="309880" y="368459"/>
            <a:ext cx="7772400" cy="759301"/>
          </a:xfrm>
        </p:spPr>
        <p:txBody>
          <a:bodyPr>
            <a:normAutofit/>
          </a:bodyPr>
          <a:lstStyle>
            <a:lvl1pPr algn="l">
              <a:defRPr sz="3200" b="1">
                <a:solidFill>
                  <a:srgbClr val="136855"/>
                </a:solidFill>
              </a:defRPr>
            </a:lvl1pPr>
          </a:lstStyle>
          <a:p>
            <a:r>
              <a:rPr lang="en-US" dirty="0"/>
              <a:t>Click to edit Master title style</a:t>
            </a:r>
          </a:p>
        </p:txBody>
      </p:sp>
      <p:sp>
        <p:nvSpPr>
          <p:cNvPr id="3" name="Subtitle 2"/>
          <p:cNvSpPr>
            <a:spLocks noGrp="1"/>
          </p:cNvSpPr>
          <p:nvPr>
            <p:ph type="subTitle" idx="1"/>
          </p:nvPr>
        </p:nvSpPr>
        <p:spPr>
          <a:xfrm>
            <a:off x="309880" y="1145858"/>
            <a:ext cx="3906520" cy="1314450"/>
          </a:xfrm>
        </p:spPr>
        <p:txBody>
          <a:bodyPr>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340360" y="4767263"/>
            <a:ext cx="2133600" cy="273844"/>
          </a:xfrm>
        </p:spPr>
        <p:txBody>
          <a:bodyPr/>
          <a:lstStyle>
            <a:lvl1pPr algn="l">
              <a:defRPr/>
            </a:lvl1pPr>
          </a:lstStyle>
          <a:p>
            <a:fld id="{AF88E988-FB04-AB4E-BE5A-59F242AF7F7A}" type="slidenum">
              <a:rPr lang="en-US" smtClean="0"/>
              <a:pPr/>
              <a:t>‹#›</a:t>
            </a:fld>
            <a:endParaRPr lang="en-US" dirty="0"/>
          </a:p>
        </p:txBody>
      </p:sp>
    </p:spTree>
    <p:extLst>
      <p:ext uri="{BB962C8B-B14F-4D97-AF65-F5344CB8AC3E}">
        <p14:creationId xmlns:p14="http://schemas.microsoft.com/office/powerpoint/2010/main" val="1728351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400"/>
            </a:lvl1pPr>
          </a:lstStyle>
          <a:p>
            <a:r>
              <a:rPr lang="en-CA" dirty="0"/>
              <a:t>Click To Edit Master Title Style</a:t>
            </a:r>
          </a:p>
        </p:txBody>
      </p:sp>
      <p:sp>
        <p:nvSpPr>
          <p:cNvPr id="3" name="Content Placeholder 2"/>
          <p:cNvSpPr>
            <a:spLocks noGrp="1"/>
          </p:cNvSpPr>
          <p:nvPr>
            <p:ph sz="half" idx="1" hasCustomPrompt="1"/>
          </p:nvPr>
        </p:nvSpPr>
        <p:spPr>
          <a:xfrm>
            <a:off x="799117" y="1371600"/>
            <a:ext cx="3189801" cy="3143250"/>
          </a:xfrm>
        </p:spPr>
        <p:txBody>
          <a:bodyPr>
            <a:normAutofit/>
          </a:bodyPr>
          <a:lstStyle>
            <a:lvl1pPr>
              <a:defRPr sz="1800" b="1"/>
            </a:lvl1pPr>
            <a:lvl2pPr>
              <a:defRPr sz="1500"/>
            </a:lvl2pPr>
            <a:lvl3pPr>
              <a:defRPr sz="1350"/>
            </a:lvl3pPr>
            <a:lvl4pPr>
              <a:defRPr sz="1200"/>
            </a:lvl4pPr>
            <a:lvl5pPr>
              <a:defRPr sz="1050"/>
            </a:lvl5pPr>
            <a:lvl6pPr>
              <a:defRPr sz="1050"/>
            </a:lvl6pPr>
            <a:lvl7pPr>
              <a:defRPr sz="1050"/>
            </a:lvl7pPr>
            <a:lvl8pPr>
              <a:defRPr sz="1050"/>
            </a:lvl8pPr>
            <a:lvl9pPr>
              <a:defRPr sz="10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Content Placeholder 3"/>
          <p:cNvSpPr>
            <a:spLocks noGrp="1"/>
          </p:cNvSpPr>
          <p:nvPr>
            <p:ph sz="half" idx="2" hasCustomPrompt="1"/>
          </p:nvPr>
        </p:nvSpPr>
        <p:spPr>
          <a:xfrm>
            <a:off x="4099516" y="1371600"/>
            <a:ext cx="3189801" cy="3143250"/>
          </a:xfrm>
        </p:spPr>
        <p:txBody>
          <a:bodyPr>
            <a:normAutofit/>
          </a:bodyPr>
          <a:lstStyle>
            <a:lvl1pPr>
              <a:defRPr sz="1800" b="1"/>
            </a:lvl1pPr>
            <a:lvl2pPr>
              <a:defRPr sz="1500"/>
            </a:lvl2pPr>
            <a:lvl3pPr>
              <a:defRPr sz="1350"/>
            </a:lvl3pPr>
            <a:lvl4pPr>
              <a:defRPr sz="1200"/>
            </a:lvl4pPr>
            <a:lvl5pPr>
              <a:defRPr sz="1050"/>
            </a:lvl5pPr>
            <a:lvl6pPr>
              <a:defRPr sz="1050"/>
            </a:lvl6pPr>
            <a:lvl7pPr>
              <a:defRPr sz="1050"/>
            </a:lvl7pPr>
            <a:lvl8pPr>
              <a:defRPr sz="1050"/>
            </a:lvl8pPr>
            <a:lvl9pPr>
              <a:defRPr sz="10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137269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4278330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Foo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15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CA" dirty="0"/>
              <a:t>Click to edit Master title style</a:t>
            </a:r>
          </a:p>
        </p:txBody>
      </p:sp>
      <p:sp>
        <p:nvSpPr>
          <p:cNvPr id="5" name="Slide Number Placeholder 1"/>
          <p:cNvSpPr txBox="1">
            <a:spLocks/>
          </p:cNvSpPr>
          <p:nvPr userDrawn="1"/>
        </p:nvSpPr>
        <p:spPr bwMode="auto">
          <a:xfrm>
            <a:off x="4460735" y="4870281"/>
            <a:ext cx="213009" cy="116622"/>
          </a:xfrm>
          <a:prstGeom prst="rect">
            <a:avLst/>
          </a:prstGeom>
        </p:spPr>
        <p:txBody>
          <a:bodyPr vert="horz" wrap="none" lIns="0" tIns="0" rIns="0" bIns="0" rtlCol="0" anchor="ctr">
            <a:noAutofit/>
          </a:bodyPr>
          <a:lstStyle>
            <a:defPPr>
              <a:defRPr lang="en-US"/>
            </a:defPPr>
            <a:lvl1pPr algn="ctr" rtl="0" fontAlgn="base">
              <a:spcBef>
                <a:spcPct val="0"/>
              </a:spcBef>
              <a:spcAft>
                <a:spcPct val="0"/>
              </a:spcAft>
              <a:defRPr lang="en-US" sz="1000" b="0" kern="1200" baseline="0" smtClean="0">
                <a:solidFill>
                  <a:schemeClr val="bg1"/>
                </a:solidFill>
                <a:latin typeface="+mn-lt"/>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fld id="{42C328C1-A84F-4A39-A664-DBA00541A8C6}" type="slidenum">
              <a:rPr lang="en-CA" sz="750">
                <a:solidFill>
                  <a:srgbClr val="FFFFFF"/>
                </a:solidFill>
              </a:rPr>
              <a:pPr/>
              <a:t>‹#›</a:t>
            </a:fld>
            <a:endParaRPr lang="en-CA" sz="750" dirty="0">
              <a:solidFill>
                <a:srgbClr val="FFFFFF"/>
              </a:solidFill>
            </a:endParaRPr>
          </a:p>
        </p:txBody>
      </p:sp>
    </p:spTree>
    <p:extLst>
      <p:ext uri="{BB962C8B-B14F-4D97-AF65-F5344CB8AC3E}">
        <p14:creationId xmlns:p14="http://schemas.microsoft.com/office/powerpoint/2010/main" val="427743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descr="Big Data Analytics - Slide Backgrounds_Artboard 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2223" cy="5143500"/>
          </a:xfrm>
          <a:prstGeom prst="rect">
            <a:avLst/>
          </a:prstGeom>
        </p:spPr>
      </p:pic>
      <p:sp>
        <p:nvSpPr>
          <p:cNvPr id="2" name="Title 1"/>
          <p:cNvSpPr>
            <a:spLocks noGrp="1"/>
          </p:cNvSpPr>
          <p:nvPr>
            <p:ph type="title"/>
          </p:nvPr>
        </p:nvSpPr>
        <p:spPr>
          <a:xfrm>
            <a:off x="1717040" y="205979"/>
            <a:ext cx="6969760" cy="857250"/>
          </a:xfrm>
        </p:spPr>
        <p:txBody>
          <a:bodyPr>
            <a:normAutofit/>
          </a:bodyPr>
          <a:lstStyle>
            <a:lvl1pPr algn="l">
              <a:defRPr sz="2800" b="1">
                <a:solidFill>
                  <a:srgbClr val="136855"/>
                </a:solidFill>
              </a:defRPr>
            </a:lvl1pPr>
          </a:lstStyle>
          <a:p>
            <a:r>
              <a:rPr lang="en-US" dirty="0"/>
              <a:t>Click to edit Master title style</a:t>
            </a:r>
          </a:p>
        </p:txBody>
      </p:sp>
      <p:sp>
        <p:nvSpPr>
          <p:cNvPr id="3" name="Content Placeholder 2"/>
          <p:cNvSpPr>
            <a:spLocks noGrp="1"/>
          </p:cNvSpPr>
          <p:nvPr>
            <p:ph idx="1"/>
          </p:nvPr>
        </p:nvSpPr>
        <p:spPr>
          <a:xfrm>
            <a:off x="1717040" y="1200151"/>
            <a:ext cx="6969760" cy="3394472"/>
          </a:xfrm>
        </p:spPr>
        <p:txBody>
          <a:bodyPr>
            <a:normAutofit/>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b="1"/>
            </a:lvl1pPr>
          </a:lstStyle>
          <a:p>
            <a:endParaRPr lang="en-US" dirty="0"/>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220382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Big Data Analytics - Slide Backgrounds_Artboard 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2" name="Title 1"/>
          <p:cNvSpPr>
            <a:spLocks noGrp="1"/>
          </p:cNvSpPr>
          <p:nvPr>
            <p:ph type="title"/>
          </p:nvPr>
        </p:nvSpPr>
        <p:spPr>
          <a:xfrm>
            <a:off x="295593" y="2042399"/>
            <a:ext cx="5724207" cy="1021556"/>
          </a:xfrm>
        </p:spPr>
        <p:txBody>
          <a:bodyPr anchor="t">
            <a:noAutofit/>
          </a:bodyPr>
          <a:lstStyle>
            <a:lvl1pPr algn="l">
              <a:defRPr sz="2800" b="1" cap="all">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295593" y="3200400"/>
            <a:ext cx="7772400" cy="82296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91AF2B4D-6B12-4EDF-87BB-2B55CECB6611}" type="slidenum">
              <a:rPr lang="en-US" smtClean="0"/>
              <a:pPr/>
              <a:t>‹#›</a:t>
            </a:fld>
            <a:endParaRPr lang="en-US"/>
          </a:p>
        </p:txBody>
      </p:sp>
    </p:spTree>
    <p:extLst>
      <p:ext uri="{BB962C8B-B14F-4D97-AF65-F5344CB8AC3E}">
        <p14:creationId xmlns:p14="http://schemas.microsoft.com/office/powerpoint/2010/main" val="1122394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5" name="Picture 14" descr="Big Data Analytics - Slide Backgrounds_Artboard 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2" y="0"/>
            <a:ext cx="9139938" cy="5143500"/>
          </a:xfrm>
          <a:prstGeom prst="rect">
            <a:avLst/>
          </a:prstGeom>
        </p:spPr>
      </p:pic>
      <p:sp>
        <p:nvSpPr>
          <p:cNvPr id="11" name="Content Placeholder 2"/>
          <p:cNvSpPr>
            <a:spLocks noGrp="1"/>
          </p:cNvSpPr>
          <p:nvPr>
            <p:ph sz="half" idx="10"/>
          </p:nvPr>
        </p:nvSpPr>
        <p:spPr>
          <a:xfrm>
            <a:off x="355600" y="1151335"/>
            <a:ext cx="3769360" cy="338002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5191760" y="1151336"/>
            <a:ext cx="3383280" cy="338002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6"/>
          <p:cNvSpPr>
            <a:spLocks noGrp="1"/>
          </p:cNvSpPr>
          <p:nvPr>
            <p:ph type="sldNum" sz="quarter" idx="12"/>
          </p:nvPr>
        </p:nvSpPr>
        <p:spPr>
          <a:xfrm>
            <a:off x="6553200" y="4767263"/>
            <a:ext cx="2133600" cy="273844"/>
          </a:xfrm>
        </p:spPr>
        <p:txBody>
          <a:bodyPr/>
          <a:lstStyle/>
          <a:p>
            <a:fld id="{2066355A-084C-D24E-9AD2-7E4FC41EA627}" type="slidenum">
              <a:rPr lang="en-US" smtClean="0"/>
              <a:t>‹#›</a:t>
            </a:fld>
            <a:endParaRPr lang="en-US"/>
          </a:p>
        </p:txBody>
      </p:sp>
      <p:sp>
        <p:nvSpPr>
          <p:cNvPr id="5" name="Text Placeholder 4"/>
          <p:cNvSpPr>
            <a:spLocks noGrp="1"/>
          </p:cNvSpPr>
          <p:nvPr>
            <p:ph type="body" sz="quarter" idx="3"/>
          </p:nvPr>
        </p:nvSpPr>
        <p:spPr>
          <a:xfrm>
            <a:off x="5191761" y="528321"/>
            <a:ext cx="3383280" cy="623016"/>
          </a:xfrm>
        </p:spPr>
        <p:txBody>
          <a:bodyPr anchor="b">
            <a:no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4"/>
          <p:cNvSpPr>
            <a:spLocks noGrp="1"/>
          </p:cNvSpPr>
          <p:nvPr>
            <p:ph type="body" sz="quarter" idx="13"/>
          </p:nvPr>
        </p:nvSpPr>
        <p:spPr>
          <a:xfrm>
            <a:off x="355600" y="528321"/>
            <a:ext cx="3769360" cy="623016"/>
          </a:xfrm>
        </p:spPr>
        <p:txBody>
          <a:bodyPr anchor="b">
            <a:no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486824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pic>
        <p:nvPicPr>
          <p:cNvPr id="4" name="Picture 3" descr="Big Data Analytics - Slide Backgrounds_Artboard 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11" name="Content Placeholder 2"/>
          <p:cNvSpPr>
            <a:spLocks noGrp="1"/>
          </p:cNvSpPr>
          <p:nvPr>
            <p:ph sz="half" idx="10"/>
          </p:nvPr>
        </p:nvSpPr>
        <p:spPr>
          <a:xfrm>
            <a:off x="355600" y="379175"/>
            <a:ext cx="8402320" cy="1998265"/>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355600" y="2794001"/>
            <a:ext cx="8402320" cy="1973262"/>
          </a:xfrm>
        </p:spPr>
        <p:txBody>
          <a:bodyPr>
            <a:normAutofit/>
          </a:bodyPr>
          <a:lstStyle>
            <a:lvl1pPr>
              <a:defRPr sz="16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6"/>
          <p:cNvSpPr>
            <a:spLocks noGrp="1"/>
          </p:cNvSpPr>
          <p:nvPr>
            <p:ph type="sldNum" sz="quarter" idx="12"/>
          </p:nvPr>
        </p:nvSpPr>
        <p:spPr>
          <a:xfrm>
            <a:off x="6553200" y="4767263"/>
            <a:ext cx="2133600" cy="273844"/>
          </a:xfrm>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056948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Main Point">
    <p:spTree>
      <p:nvGrpSpPr>
        <p:cNvPr id="1" name=""/>
        <p:cNvGrpSpPr/>
        <p:nvPr/>
      </p:nvGrpSpPr>
      <p:grpSpPr>
        <a:xfrm>
          <a:off x="0" y="0"/>
          <a:ext cx="0" cy="0"/>
          <a:chOff x="0" y="0"/>
          <a:chExt cx="0" cy="0"/>
        </a:xfrm>
      </p:grpSpPr>
      <p:pic>
        <p:nvPicPr>
          <p:cNvPr id="8" name="Picture 7" descr="Big Data Analytics - Slide Backgrounds_Artboard 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7" y="0"/>
            <a:ext cx="9142223" cy="5143500"/>
          </a:xfrm>
          <a:prstGeom prst="rect">
            <a:avLst/>
          </a:prstGeom>
        </p:spPr>
      </p:pic>
      <p:sp>
        <p:nvSpPr>
          <p:cNvPr id="2" name="Title 1"/>
          <p:cNvSpPr>
            <a:spLocks noGrp="1"/>
          </p:cNvSpPr>
          <p:nvPr>
            <p:ph type="title"/>
          </p:nvPr>
        </p:nvSpPr>
        <p:spPr>
          <a:xfrm>
            <a:off x="863600" y="843280"/>
            <a:ext cx="7416800" cy="3403600"/>
          </a:xfrm>
        </p:spPr>
        <p:txBody>
          <a:bodyPr>
            <a:normAutofit/>
          </a:bodyPr>
          <a:lstStyle>
            <a:lvl1pPr>
              <a:defRPr sz="2800"/>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08471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249224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ast Slide">
    <p:spTree>
      <p:nvGrpSpPr>
        <p:cNvPr id="1" name=""/>
        <p:cNvGrpSpPr/>
        <p:nvPr/>
      </p:nvGrpSpPr>
      <p:grpSpPr>
        <a:xfrm>
          <a:off x="0" y="0"/>
          <a:ext cx="0" cy="0"/>
          <a:chOff x="0" y="0"/>
          <a:chExt cx="0" cy="0"/>
        </a:xfrm>
      </p:grpSpPr>
      <p:pic>
        <p:nvPicPr>
          <p:cNvPr id="6" name="Picture 5" descr="Big Data Analytics - Slide Backgrounds_Artboard 7.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62" y="0"/>
            <a:ext cx="9139938" cy="5143500"/>
          </a:xfrm>
          <a:prstGeom prst="rect">
            <a:avLst/>
          </a:prstGeom>
        </p:spPr>
      </p:pic>
      <p:sp>
        <p:nvSpPr>
          <p:cNvPr id="5" name="TextBox 4"/>
          <p:cNvSpPr txBox="1"/>
          <p:nvPr userDrawn="1"/>
        </p:nvSpPr>
        <p:spPr>
          <a:xfrm>
            <a:off x="3413760" y="914400"/>
            <a:ext cx="5120640" cy="2031325"/>
          </a:xfrm>
          <a:prstGeom prst="rect">
            <a:avLst/>
          </a:prstGeom>
          <a:noFill/>
        </p:spPr>
        <p:txBody>
          <a:bodyPr wrap="square" rtlCol="0">
            <a:spAutoFit/>
          </a:bodyPr>
          <a:lstStyle/>
          <a:p>
            <a:r>
              <a:rPr lang="en-US" sz="1400" dirty="0">
                <a:solidFill>
                  <a:schemeClr val="tx1">
                    <a:lumMod val="65000"/>
                    <a:lumOff val="35000"/>
                  </a:schemeClr>
                </a:solidFill>
              </a:rPr>
              <a:t>© All rights reserved. All content within our courses, such as this video, is protected by copyright and is owned by the course author or unless otherwise stated.  Third party copyrighted materials (for example, images and text) have either been licensed for use in any given course, or have  been copied under an exception or limitation in Canadian Copyright law. For further information, please contact the McMaster University Centre for Continuing Education </a:t>
            </a:r>
            <a:r>
              <a:rPr lang="en-US" sz="1400" dirty="0" err="1">
                <a:solidFill>
                  <a:schemeClr val="tx1">
                    <a:lumMod val="65000"/>
                    <a:lumOff val="35000"/>
                  </a:schemeClr>
                </a:solidFill>
              </a:rPr>
              <a:t>ccecrsdv@mcmaster.ca</a:t>
            </a:r>
            <a:r>
              <a:rPr lang="en-US" sz="1400" dirty="0">
                <a:solidFill>
                  <a:schemeClr val="tx1">
                    <a:lumMod val="65000"/>
                    <a:lumOff val="35000"/>
                  </a:schemeClr>
                </a:solidFill>
              </a:rPr>
              <a:t>.</a:t>
            </a:r>
          </a:p>
        </p:txBody>
      </p:sp>
    </p:spTree>
    <p:extLst>
      <p:ext uri="{BB962C8B-B14F-4D97-AF65-F5344CB8AC3E}">
        <p14:creationId xmlns:p14="http://schemas.microsoft.com/office/powerpoint/2010/main" val="245829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400"/>
            </a:lvl1pPr>
          </a:lstStyle>
          <a:p>
            <a:r>
              <a:rPr lang="en-CA" dirty="0"/>
              <a:t>Click To Edit Master Title Style</a:t>
            </a:r>
          </a:p>
        </p:txBody>
      </p:sp>
      <p:sp>
        <p:nvSpPr>
          <p:cNvPr id="4" name="Content Placeholder 3"/>
          <p:cNvSpPr>
            <a:spLocks noGrp="1"/>
          </p:cNvSpPr>
          <p:nvPr>
            <p:ph sz="half" idx="2" hasCustomPrompt="1"/>
          </p:nvPr>
        </p:nvSpPr>
        <p:spPr>
          <a:xfrm>
            <a:off x="799118" y="1943100"/>
            <a:ext cx="3189801" cy="2571750"/>
          </a:xfrm>
        </p:spPr>
        <p:txBody>
          <a:bodyPr>
            <a:normAutofit/>
          </a:bodyPr>
          <a:lstStyle>
            <a:lvl1pPr>
              <a:defRPr sz="1800" b="1"/>
            </a:lvl1pPr>
            <a:lvl2pPr>
              <a:defRPr sz="1500"/>
            </a:lvl2pPr>
            <a:lvl3pPr>
              <a:defRPr sz="1350"/>
            </a:lvl3pPr>
            <a:lvl4pPr>
              <a:defRPr sz="1050"/>
            </a:lvl4pPr>
            <a:lvl5pPr>
              <a:defRPr sz="1050"/>
            </a:lvl5pPr>
            <a:lvl6pPr>
              <a:defRPr sz="1050"/>
            </a:lvl6pPr>
            <a:lvl7pPr>
              <a:defRPr sz="1050"/>
            </a:lvl7pPr>
            <a:lvl8pPr>
              <a:defRPr sz="1050"/>
            </a:lvl8pPr>
            <a:lvl9pPr>
              <a:defRPr sz="10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Content Placeholder 5"/>
          <p:cNvSpPr>
            <a:spLocks noGrp="1"/>
          </p:cNvSpPr>
          <p:nvPr>
            <p:ph sz="quarter" idx="4" hasCustomPrompt="1"/>
          </p:nvPr>
        </p:nvSpPr>
        <p:spPr>
          <a:xfrm>
            <a:off x="4126114" y="1943100"/>
            <a:ext cx="3189801" cy="2571750"/>
          </a:xfrm>
        </p:spPr>
        <p:txBody>
          <a:bodyPr>
            <a:normAutofit/>
          </a:bodyPr>
          <a:lstStyle>
            <a:lvl1pPr>
              <a:defRPr sz="1800" b="1"/>
            </a:lvl1pPr>
            <a:lvl2pPr>
              <a:defRPr sz="1500"/>
            </a:lvl2pPr>
            <a:lvl3pPr>
              <a:defRPr sz="1350"/>
            </a:lvl3pPr>
            <a:lvl4pPr>
              <a:defRPr sz="1050"/>
            </a:lvl4pPr>
            <a:lvl5pPr>
              <a:defRPr sz="1050"/>
            </a:lvl5pPr>
            <a:lvl6pPr>
              <a:defRPr sz="1050"/>
            </a:lvl6pPr>
            <a:lvl7pPr>
              <a:defRPr sz="1050"/>
            </a:lvl7pPr>
            <a:lvl8pPr>
              <a:defRPr sz="1050"/>
            </a:lvl8pPr>
            <a:lvl9pPr>
              <a:defRPr sz="10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262930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68C2560D-EC28-3B41-86E8-18F1CE0113B4}" type="datetimeFigureOut">
              <a:rPr lang="en-US" smtClean="0"/>
              <a:t>9/20/19</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2066355A-084C-D24E-9AD2-7E4FC41EA627}" type="slidenum">
              <a:rPr lang="en-US" smtClean="0"/>
              <a:t>‹#›</a:t>
            </a:fld>
            <a:endParaRPr lang="en-US"/>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56" r:id="rId1"/>
    <p:sldLayoutId id="2147493457" r:id="rId2"/>
    <p:sldLayoutId id="2147493458" r:id="rId3"/>
    <p:sldLayoutId id="2147493460" r:id="rId4"/>
    <p:sldLayoutId id="2147493464" r:id="rId5"/>
    <p:sldLayoutId id="2147493461" r:id="rId6"/>
    <p:sldLayoutId id="2147493462" r:id="rId7"/>
    <p:sldLayoutId id="2147493465" r:id="rId8"/>
    <p:sldLayoutId id="2147493467" r:id="rId9"/>
    <p:sldLayoutId id="2147493468" r:id="rId10"/>
    <p:sldLayoutId id="2147493469" r:id="rId11"/>
    <p:sldLayoutId id="2147493470"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gif"/><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CA" dirty="0"/>
              <a:t>What is Data Analytics?</a:t>
            </a:r>
            <a:endParaRPr lang="en-US" dirty="0"/>
          </a:p>
        </p:txBody>
      </p:sp>
      <p:sp>
        <p:nvSpPr>
          <p:cNvPr id="3" name="Subtitle 2"/>
          <p:cNvSpPr>
            <a:spLocks noGrp="1"/>
          </p:cNvSpPr>
          <p:nvPr>
            <p:ph type="subTitle" idx="1"/>
          </p:nvPr>
        </p:nvSpPr>
        <p:spPr/>
        <p:txBody>
          <a:bodyPr>
            <a:normAutofit/>
          </a:bodyPr>
          <a:lstStyle/>
          <a:p>
            <a:endParaRPr lang="en-CA" sz="1200" dirty="0"/>
          </a:p>
          <a:p>
            <a:endParaRPr lang="en-CA" sz="1200" dirty="0"/>
          </a:p>
          <a:p>
            <a:r>
              <a:rPr lang="en-CA" sz="1200" dirty="0"/>
              <a:t>Week  1</a:t>
            </a:r>
            <a:endParaRPr lang="en-US" sz="1200" dirty="0"/>
          </a:p>
        </p:txBody>
      </p:sp>
    </p:spTree>
    <p:extLst>
      <p:ext uri="{BB962C8B-B14F-4D97-AF65-F5344CB8AC3E}">
        <p14:creationId xmlns:p14="http://schemas.microsoft.com/office/powerpoint/2010/main" val="9246374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Deep leaning vs. Machine Learning </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r>
              <a:rPr lang="en-US" sz="1400" dirty="0"/>
              <a:t>Deep learning algorithms attempt to learn (multiple levels of) representation by using a hierarchy of multiple layers.</a:t>
            </a:r>
          </a:p>
          <a:p>
            <a:pPr marL="0" indent="0">
              <a:buNone/>
            </a:pPr>
            <a:endParaRPr lang="en-US" sz="1400" dirty="0"/>
          </a:p>
          <a:p>
            <a:r>
              <a:rPr lang="en-US" sz="1400" dirty="0"/>
              <a:t>If you provide the system tons of information, it begins to understand it and respond in useful ways.</a:t>
            </a:r>
          </a:p>
          <a:p>
            <a:endParaRPr lang="en-US" sz="2000" i="1" dirty="0">
              <a:solidFill>
                <a:srgbClr val="BA6016"/>
              </a:solidFill>
            </a:endParaRPr>
          </a:p>
        </p:txBody>
      </p:sp>
      <p:pic>
        <p:nvPicPr>
          <p:cNvPr id="6" name="Picture 5" descr="machine-learning-vs-deep-learning.png">
            <a:extLst>
              <a:ext uri="{FF2B5EF4-FFF2-40B4-BE49-F238E27FC236}">
                <a16:creationId xmlns:a16="http://schemas.microsoft.com/office/drawing/2014/main" id="{35C7B206-0CEA-F440-ABA2-A14E6DC702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400" y="2733111"/>
            <a:ext cx="4097383" cy="1998434"/>
          </a:xfrm>
          <a:prstGeom prst="rect">
            <a:avLst/>
          </a:prstGeom>
        </p:spPr>
      </p:pic>
    </p:spTree>
    <p:extLst>
      <p:ext uri="{BB962C8B-B14F-4D97-AF65-F5344CB8AC3E}">
        <p14:creationId xmlns:p14="http://schemas.microsoft.com/office/powerpoint/2010/main" val="1020942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0AA4AF9-FB9F-438C-89E9-71BDB2A724F1}"/>
              </a:ext>
            </a:extLst>
          </p:cNvPr>
          <p:cNvSpPr>
            <a:spLocks noGrp="1"/>
          </p:cNvSpPr>
          <p:nvPr>
            <p:ph type="title"/>
          </p:nvPr>
        </p:nvSpPr>
        <p:spPr>
          <a:xfrm>
            <a:off x="295593" y="2042399"/>
            <a:ext cx="5724207" cy="1021556"/>
          </a:xfrm>
        </p:spPr>
        <p:txBody>
          <a:bodyPr/>
          <a:lstStyle/>
          <a:p>
            <a:pPr>
              <a:lnSpc>
                <a:spcPct val="150000"/>
              </a:lnSpc>
            </a:pPr>
            <a:r>
              <a:rPr lang="en-CA" sz="2000" cap="none" dirty="0"/>
              <a:t>In the rest of this course – Part 1</a:t>
            </a:r>
            <a:br>
              <a:rPr lang="en-CA" sz="2000" cap="none" dirty="0"/>
            </a:br>
            <a:r>
              <a:rPr lang="en-US" sz="2000" cap="none" dirty="0"/>
              <a:t>Natural Language Processing</a:t>
            </a:r>
            <a:br>
              <a:rPr lang="en-CA" sz="2000" cap="none" dirty="0"/>
            </a:br>
            <a:br>
              <a:rPr lang="en-CA" sz="2000" cap="none" dirty="0"/>
            </a:br>
            <a:endParaRPr lang="en-CA" sz="2000" cap="none" dirty="0"/>
          </a:p>
        </p:txBody>
      </p:sp>
    </p:spTree>
    <p:extLst>
      <p:ext uri="{BB962C8B-B14F-4D97-AF65-F5344CB8AC3E}">
        <p14:creationId xmlns:p14="http://schemas.microsoft.com/office/powerpoint/2010/main" val="2320268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Unstructured Data</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lstStyle/>
          <a:p>
            <a:r>
              <a:rPr lang="en-US" dirty="0"/>
              <a:t>Text analytics uses algorithms for turning unstructured data in to the structured data using natural language processing, statistical and machine learning methods</a:t>
            </a:r>
          </a:p>
          <a:p>
            <a:r>
              <a:rPr lang="en-US" dirty="0"/>
              <a:t>After generating structured data, analytic techniques can be applied.</a:t>
            </a:r>
          </a:p>
          <a:p>
            <a:endParaRPr lang="en-US" dirty="0"/>
          </a:p>
          <a:p>
            <a:pPr marL="0" indent="0" algn="ctr">
              <a:buNone/>
            </a:pPr>
            <a:r>
              <a:rPr lang="en-US" sz="1800" b="1" i="1" dirty="0">
                <a:solidFill>
                  <a:srgbClr val="FF0000"/>
                </a:solidFill>
              </a:rPr>
              <a:t>Most significant part of text mining is how to convert text into structure data</a:t>
            </a:r>
          </a:p>
          <a:p>
            <a:pPr marL="0" indent="0">
              <a:buNone/>
            </a:pPr>
            <a:endParaRPr lang="en-US" dirty="0"/>
          </a:p>
          <a:p>
            <a:pPr marL="0" indent="0">
              <a:buNone/>
            </a:pPr>
            <a:endParaRPr lang="en-US" dirty="0"/>
          </a:p>
          <a:p>
            <a:endParaRPr lang="en-US" dirty="0"/>
          </a:p>
          <a:p>
            <a:endParaRPr lang="en-CA" dirty="0"/>
          </a:p>
          <a:p>
            <a:endParaRPr lang="en-CA" dirty="0"/>
          </a:p>
        </p:txBody>
      </p:sp>
    </p:spTree>
    <p:extLst>
      <p:ext uri="{BB962C8B-B14F-4D97-AF65-F5344CB8AC3E}">
        <p14:creationId xmlns:p14="http://schemas.microsoft.com/office/powerpoint/2010/main" val="2972285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Text analytic</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lstStyle/>
          <a:p>
            <a:endParaRPr lang="en-US" dirty="0"/>
          </a:p>
          <a:p>
            <a:endParaRPr lang="en-CA" dirty="0"/>
          </a:p>
          <a:p>
            <a:endParaRPr lang="en-CA" dirty="0"/>
          </a:p>
        </p:txBody>
      </p:sp>
      <p:graphicFrame>
        <p:nvGraphicFramePr>
          <p:cNvPr id="4" name="Diagram 3">
            <a:extLst>
              <a:ext uri="{FF2B5EF4-FFF2-40B4-BE49-F238E27FC236}">
                <a16:creationId xmlns:a16="http://schemas.microsoft.com/office/drawing/2014/main" id="{152E799F-81DB-6346-840D-7D79A32CC1C3}"/>
              </a:ext>
            </a:extLst>
          </p:cNvPr>
          <p:cNvGraphicFramePr/>
          <p:nvPr>
            <p:extLst/>
          </p:nvPr>
        </p:nvGraphicFramePr>
        <p:xfrm>
          <a:off x="1842052" y="1063229"/>
          <a:ext cx="6983896" cy="10502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B2BD1DCF-4622-A648-A594-D4CE4B936C11}"/>
              </a:ext>
            </a:extLst>
          </p:cNvPr>
          <p:cNvSpPr txBox="1"/>
          <p:nvPr/>
        </p:nvSpPr>
        <p:spPr>
          <a:xfrm>
            <a:off x="1934816" y="2113521"/>
            <a:ext cx="1119811" cy="892552"/>
          </a:xfrm>
          <a:prstGeom prst="rect">
            <a:avLst/>
          </a:prstGeom>
          <a:noFill/>
          <a:ln>
            <a:solidFill>
              <a:schemeClr val="tx1"/>
            </a:solidFill>
          </a:ln>
        </p:spPr>
        <p:txBody>
          <a:bodyPr wrap="square" rtlCol="0">
            <a:spAutoFit/>
          </a:bodyPr>
          <a:lstStyle/>
          <a:p>
            <a:r>
              <a:rPr lang="en-US" sz="1300" dirty="0"/>
              <a:t>Documents</a:t>
            </a:r>
          </a:p>
          <a:p>
            <a:r>
              <a:rPr lang="en-US" sz="1300" dirty="0"/>
              <a:t>Web pages</a:t>
            </a:r>
          </a:p>
          <a:p>
            <a:r>
              <a:rPr lang="en-US" sz="1300" dirty="0"/>
              <a:t>Comments</a:t>
            </a:r>
          </a:p>
          <a:p>
            <a:endParaRPr lang="en-US" sz="1300" dirty="0"/>
          </a:p>
        </p:txBody>
      </p:sp>
      <p:sp>
        <p:nvSpPr>
          <p:cNvPr id="6" name="TextBox 5">
            <a:extLst>
              <a:ext uri="{FF2B5EF4-FFF2-40B4-BE49-F238E27FC236}">
                <a16:creationId xmlns:a16="http://schemas.microsoft.com/office/drawing/2014/main" id="{F16DD25B-507C-0C46-A276-3C3F4E8D62A4}"/>
              </a:ext>
            </a:extLst>
          </p:cNvPr>
          <p:cNvSpPr txBox="1"/>
          <p:nvPr/>
        </p:nvSpPr>
        <p:spPr>
          <a:xfrm>
            <a:off x="3074505" y="2113521"/>
            <a:ext cx="1484245" cy="892552"/>
          </a:xfrm>
          <a:prstGeom prst="rect">
            <a:avLst/>
          </a:prstGeom>
          <a:noFill/>
          <a:ln>
            <a:solidFill>
              <a:schemeClr val="tx1"/>
            </a:solidFill>
          </a:ln>
        </p:spPr>
        <p:txBody>
          <a:bodyPr wrap="square" rtlCol="0">
            <a:spAutoFit/>
          </a:bodyPr>
          <a:lstStyle/>
          <a:p>
            <a:r>
              <a:rPr lang="en-US" sz="1300" dirty="0"/>
              <a:t>Extract words</a:t>
            </a:r>
          </a:p>
          <a:p>
            <a:r>
              <a:rPr lang="en-US" sz="1300" dirty="0"/>
              <a:t>Parts of Speech</a:t>
            </a:r>
          </a:p>
          <a:p>
            <a:r>
              <a:rPr lang="en-US" sz="1300" dirty="0"/>
              <a:t>Stemming</a:t>
            </a:r>
          </a:p>
          <a:p>
            <a:r>
              <a:rPr lang="en-US" sz="1300" dirty="0"/>
              <a:t>Word filtering</a:t>
            </a:r>
          </a:p>
        </p:txBody>
      </p:sp>
      <p:sp>
        <p:nvSpPr>
          <p:cNvPr id="7" name="TextBox 6">
            <a:extLst>
              <a:ext uri="{FF2B5EF4-FFF2-40B4-BE49-F238E27FC236}">
                <a16:creationId xmlns:a16="http://schemas.microsoft.com/office/drawing/2014/main" id="{6E6B9524-638C-FA49-A07C-B6C2DD213257}"/>
              </a:ext>
            </a:extLst>
          </p:cNvPr>
          <p:cNvSpPr txBox="1"/>
          <p:nvPr/>
        </p:nvSpPr>
        <p:spPr>
          <a:xfrm>
            <a:off x="4565376" y="2106897"/>
            <a:ext cx="1358351" cy="892552"/>
          </a:xfrm>
          <a:prstGeom prst="rect">
            <a:avLst/>
          </a:prstGeom>
          <a:noFill/>
          <a:ln>
            <a:solidFill>
              <a:schemeClr val="tx1"/>
            </a:solidFill>
          </a:ln>
        </p:spPr>
        <p:txBody>
          <a:bodyPr wrap="square" rtlCol="0">
            <a:spAutoFit/>
          </a:bodyPr>
          <a:lstStyle/>
          <a:p>
            <a:r>
              <a:rPr lang="en-US" sz="1300" dirty="0"/>
              <a:t>Filter irrelevant</a:t>
            </a:r>
          </a:p>
          <a:p>
            <a:r>
              <a:rPr lang="en-US" sz="1300" dirty="0"/>
              <a:t>Filter Stop lists</a:t>
            </a:r>
          </a:p>
          <a:p>
            <a:endParaRPr lang="en-US" sz="1300" dirty="0"/>
          </a:p>
          <a:p>
            <a:endParaRPr lang="en-US" sz="1300" dirty="0"/>
          </a:p>
        </p:txBody>
      </p:sp>
      <p:sp>
        <p:nvSpPr>
          <p:cNvPr id="8" name="TextBox 7">
            <a:extLst>
              <a:ext uri="{FF2B5EF4-FFF2-40B4-BE49-F238E27FC236}">
                <a16:creationId xmlns:a16="http://schemas.microsoft.com/office/drawing/2014/main" id="{F5B7E96E-ED1E-2E4D-ADAB-FF47C8C91A52}"/>
              </a:ext>
            </a:extLst>
          </p:cNvPr>
          <p:cNvSpPr txBox="1"/>
          <p:nvPr/>
        </p:nvSpPr>
        <p:spPr>
          <a:xfrm>
            <a:off x="5930353" y="2106897"/>
            <a:ext cx="1398100" cy="892552"/>
          </a:xfrm>
          <a:prstGeom prst="rect">
            <a:avLst/>
          </a:prstGeom>
          <a:noFill/>
          <a:ln>
            <a:solidFill>
              <a:schemeClr val="tx1"/>
            </a:solidFill>
          </a:ln>
        </p:spPr>
        <p:txBody>
          <a:bodyPr wrap="square" rtlCol="0">
            <a:spAutoFit/>
          </a:bodyPr>
          <a:lstStyle/>
          <a:p>
            <a:r>
              <a:rPr lang="en-US" sz="1300" dirty="0"/>
              <a:t>Convert the text to matrix or vector</a:t>
            </a:r>
          </a:p>
          <a:p>
            <a:endParaRPr lang="en-US" sz="1300" dirty="0"/>
          </a:p>
        </p:txBody>
      </p:sp>
      <p:sp>
        <p:nvSpPr>
          <p:cNvPr id="9" name="TextBox 8">
            <a:extLst>
              <a:ext uri="{FF2B5EF4-FFF2-40B4-BE49-F238E27FC236}">
                <a16:creationId xmlns:a16="http://schemas.microsoft.com/office/drawing/2014/main" id="{F89D939F-818B-164B-B752-B691EEE2C483}"/>
              </a:ext>
            </a:extLst>
          </p:cNvPr>
          <p:cNvSpPr txBox="1"/>
          <p:nvPr/>
        </p:nvSpPr>
        <p:spPr>
          <a:xfrm>
            <a:off x="7321830" y="2106897"/>
            <a:ext cx="1668886" cy="892552"/>
          </a:xfrm>
          <a:prstGeom prst="rect">
            <a:avLst/>
          </a:prstGeom>
          <a:noFill/>
          <a:ln>
            <a:solidFill>
              <a:schemeClr val="tx1"/>
            </a:solidFill>
          </a:ln>
        </p:spPr>
        <p:txBody>
          <a:bodyPr wrap="square" rtlCol="0">
            <a:spAutoFit/>
          </a:bodyPr>
          <a:lstStyle/>
          <a:p>
            <a:r>
              <a:rPr lang="en-US" sz="1300" dirty="0"/>
              <a:t>Topic extraction</a:t>
            </a:r>
          </a:p>
          <a:p>
            <a:r>
              <a:rPr lang="en-US" sz="1300" dirty="0"/>
              <a:t>Sentiment Analysis</a:t>
            </a:r>
          </a:p>
          <a:p>
            <a:r>
              <a:rPr lang="en-US" sz="1300" dirty="0"/>
              <a:t>Document similarity</a:t>
            </a:r>
          </a:p>
          <a:p>
            <a:endParaRPr lang="en-US" sz="1300" dirty="0"/>
          </a:p>
        </p:txBody>
      </p:sp>
    </p:spTree>
    <p:extLst>
      <p:ext uri="{BB962C8B-B14F-4D97-AF65-F5344CB8AC3E}">
        <p14:creationId xmlns:p14="http://schemas.microsoft.com/office/powerpoint/2010/main" val="28633142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Text analytic</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lstStyle/>
          <a:p>
            <a:r>
              <a:rPr lang="en-CA" b="1" dirty="0"/>
              <a:t>Pattern Discovery (Unsupervised learning):</a:t>
            </a:r>
          </a:p>
          <a:p>
            <a:pPr lvl="1"/>
            <a:r>
              <a:rPr lang="en-CA" dirty="0"/>
              <a:t>Clustering, Segmentation</a:t>
            </a:r>
          </a:p>
          <a:p>
            <a:pPr lvl="1"/>
            <a:r>
              <a:rPr lang="en-CA" dirty="0"/>
              <a:t>Associations </a:t>
            </a:r>
          </a:p>
          <a:p>
            <a:pPr marL="457200" lvl="1" indent="0">
              <a:buNone/>
            </a:pPr>
            <a:endParaRPr lang="en-CA" dirty="0"/>
          </a:p>
          <a:p>
            <a:r>
              <a:rPr lang="en-CA" b="1" dirty="0"/>
              <a:t>Prediction (Supervised learning):</a:t>
            </a:r>
          </a:p>
          <a:p>
            <a:pPr lvl="1"/>
            <a:r>
              <a:rPr lang="en-CA" dirty="0"/>
              <a:t>The target variable is defined and predictive model is developed</a:t>
            </a:r>
          </a:p>
        </p:txBody>
      </p:sp>
    </p:spTree>
    <p:extLst>
      <p:ext uri="{BB962C8B-B14F-4D97-AF65-F5344CB8AC3E}">
        <p14:creationId xmlns:p14="http://schemas.microsoft.com/office/powerpoint/2010/main" val="24258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Text mining application</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lstStyle/>
          <a:p>
            <a:r>
              <a:rPr lang="en-CA" b="1" dirty="0"/>
              <a:t>Information retrieval</a:t>
            </a:r>
            <a:r>
              <a:rPr lang="en-CA" dirty="0"/>
              <a:t>:</a:t>
            </a:r>
          </a:p>
          <a:p>
            <a:pPr lvl="1"/>
            <a:r>
              <a:rPr lang="en-CA" dirty="0"/>
              <a:t>Finding documents with relevant contents</a:t>
            </a:r>
          </a:p>
          <a:p>
            <a:pPr lvl="1"/>
            <a:r>
              <a:rPr lang="en-CA" dirty="0"/>
              <a:t>Research </a:t>
            </a:r>
          </a:p>
          <a:p>
            <a:r>
              <a:rPr lang="en-CA" b="1" dirty="0"/>
              <a:t>Document categorization</a:t>
            </a:r>
          </a:p>
          <a:p>
            <a:pPr lvl="1"/>
            <a:r>
              <a:rPr lang="en-CA" dirty="0"/>
              <a:t>Documents Clustering</a:t>
            </a:r>
          </a:p>
          <a:p>
            <a:pPr lvl="1"/>
            <a:r>
              <a:rPr lang="en-CA" dirty="0"/>
              <a:t>Extracting themes</a:t>
            </a:r>
          </a:p>
          <a:p>
            <a:r>
              <a:rPr lang="en-CA" b="1" dirty="0"/>
              <a:t>Anomaly detection</a:t>
            </a:r>
          </a:p>
          <a:p>
            <a:pPr lvl="1"/>
            <a:r>
              <a:rPr lang="en-CA" dirty="0"/>
              <a:t>Fraud activity</a:t>
            </a:r>
          </a:p>
        </p:txBody>
      </p:sp>
    </p:spTree>
    <p:extLst>
      <p:ext uri="{BB962C8B-B14F-4D97-AF65-F5344CB8AC3E}">
        <p14:creationId xmlns:p14="http://schemas.microsoft.com/office/powerpoint/2010/main" val="15745284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GB" altLang="en-US" dirty="0"/>
              <a:t>Text mining &amp; Deep learning</a:t>
            </a:r>
            <a:endParaRPr lang="en-CA" dirty="0"/>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pPr>
              <a:defRPr/>
            </a:pPr>
            <a:endParaRPr lang="en-GB" dirty="0">
              <a:latin typeface="Times New Roman" panose="02020603050405020304" pitchFamily="18" charset="0"/>
              <a:cs typeface="Times New Roman" panose="02020603050405020304" pitchFamily="18" charset="0"/>
            </a:endParaRPr>
          </a:p>
          <a:p>
            <a:r>
              <a:rPr lang="en-US" altLang="en-US" b="1" dirty="0"/>
              <a:t>Natural language processing (NLP)</a:t>
            </a:r>
            <a:r>
              <a:rPr lang="en-US" altLang="en-US" dirty="0"/>
              <a:t> is a subfield of computer science,  artificial intelligence and linguistics. It studies the problems of automated generation and understanding of natural human languages. </a:t>
            </a:r>
          </a:p>
          <a:p>
            <a:pPr marL="0" indent="0">
              <a:buNone/>
            </a:pPr>
            <a:endParaRPr lang="en-US" altLang="zh-CN" dirty="0">
              <a:ea typeface="宋体" panose="02010600030101010101" pitchFamily="2" charset="-122"/>
            </a:endParaRPr>
          </a:p>
          <a:p>
            <a:r>
              <a:rPr lang="en-US" altLang="en-US" dirty="0"/>
              <a:t>Statistical natural language processing uses stochastic, probabilistic and statistical methods to resolve some of the difficulties </a:t>
            </a:r>
            <a:r>
              <a:rPr lang="en-US" altLang="zh-CN" dirty="0">
                <a:ea typeface="宋体" panose="02010600030101010101" pitchFamily="2" charset="-122"/>
              </a:rPr>
              <a:t>: e.g. text segmentation, word sense disambiguation.</a:t>
            </a:r>
            <a:endParaRPr lang="en-US" altLang="en-US" dirty="0"/>
          </a:p>
          <a:p>
            <a:pPr marL="0" indent="0">
              <a:buNone/>
            </a:pPr>
            <a:endParaRPr lang="en-US" dirty="0"/>
          </a:p>
        </p:txBody>
      </p:sp>
    </p:spTree>
    <p:extLst>
      <p:ext uri="{BB962C8B-B14F-4D97-AF65-F5344CB8AC3E}">
        <p14:creationId xmlns:p14="http://schemas.microsoft.com/office/powerpoint/2010/main" val="337469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Text analytic</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r>
              <a:rPr lang="en-US" b="1" dirty="0">
                <a:solidFill>
                  <a:schemeClr val="accent6">
                    <a:lumMod val="75000"/>
                  </a:schemeClr>
                </a:solidFill>
              </a:rPr>
              <a:t>Text pre-processing </a:t>
            </a:r>
            <a:r>
              <a:rPr lang="en-US" dirty="0">
                <a:solidFill>
                  <a:schemeClr val="accent6">
                    <a:lumMod val="75000"/>
                  </a:schemeClr>
                </a:solidFill>
              </a:rPr>
              <a:t>:</a:t>
            </a:r>
          </a:p>
          <a:p>
            <a:pPr lvl="2"/>
            <a:r>
              <a:rPr lang="en-US" b="1" dirty="0"/>
              <a:t>Text cleaning:</a:t>
            </a:r>
          </a:p>
          <a:p>
            <a:pPr lvl="3"/>
            <a:r>
              <a:rPr lang="en-US" dirty="0"/>
              <a:t>Remove the tags from web documents</a:t>
            </a:r>
          </a:p>
          <a:p>
            <a:pPr lvl="3"/>
            <a:r>
              <a:rPr lang="en-US" dirty="0"/>
              <a:t>Exclude the irrelevant words such as </a:t>
            </a:r>
            <a:r>
              <a:rPr lang="en-US" dirty="0" err="1"/>
              <a:t>Ushhhhhhh</a:t>
            </a:r>
            <a:endParaRPr lang="en-US" dirty="0"/>
          </a:p>
          <a:p>
            <a:pPr lvl="3"/>
            <a:r>
              <a:rPr lang="en-US" dirty="0"/>
              <a:t>Correct misspelled words</a:t>
            </a:r>
          </a:p>
          <a:p>
            <a:pPr lvl="2"/>
            <a:r>
              <a:rPr lang="en-US" b="1" dirty="0"/>
              <a:t>Tokenizing:</a:t>
            </a:r>
          </a:p>
          <a:p>
            <a:pPr lvl="3"/>
            <a:r>
              <a:rPr lang="en-US" dirty="0"/>
              <a:t>Remove punctuations, upper/lower case, normalization</a:t>
            </a:r>
          </a:p>
          <a:p>
            <a:pPr lvl="2"/>
            <a:r>
              <a:rPr lang="en-US" b="1" dirty="0"/>
              <a:t>Part of speech:</a:t>
            </a:r>
          </a:p>
          <a:p>
            <a:pPr lvl="3"/>
            <a:r>
              <a:rPr lang="en-US" dirty="0"/>
              <a:t>Noun, verb, adjective,…</a:t>
            </a:r>
          </a:p>
          <a:p>
            <a:pPr lvl="2"/>
            <a:r>
              <a:rPr lang="en-US" b="1" dirty="0"/>
              <a:t>Filtering stop words.</a:t>
            </a:r>
          </a:p>
          <a:p>
            <a:pPr lvl="2"/>
            <a:r>
              <a:rPr lang="en-US" b="1" dirty="0"/>
              <a:t>Other NLP features techniques</a:t>
            </a:r>
            <a:r>
              <a:rPr lang="en-US" dirty="0"/>
              <a:t>.</a:t>
            </a:r>
          </a:p>
          <a:p>
            <a:endParaRPr lang="en-US" dirty="0"/>
          </a:p>
          <a:p>
            <a:endParaRPr lang="en-CA" dirty="0"/>
          </a:p>
          <a:p>
            <a:endParaRPr lang="en-CA" dirty="0"/>
          </a:p>
        </p:txBody>
      </p:sp>
    </p:spTree>
    <p:extLst>
      <p:ext uri="{BB962C8B-B14F-4D97-AF65-F5344CB8AC3E}">
        <p14:creationId xmlns:p14="http://schemas.microsoft.com/office/powerpoint/2010/main" val="2332264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GB" altLang="en-US" dirty="0"/>
              <a:t>Text Mining</a:t>
            </a:r>
            <a:endParaRPr lang="en-CA" dirty="0"/>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r>
              <a:rPr lang="en-US" b="1" dirty="0">
                <a:solidFill>
                  <a:schemeClr val="accent6">
                    <a:lumMod val="75000"/>
                  </a:schemeClr>
                </a:solidFill>
              </a:rPr>
              <a:t>Text Vectorization</a:t>
            </a:r>
          </a:p>
          <a:p>
            <a:pPr lvl="2"/>
            <a:r>
              <a:rPr lang="en-US" dirty="0"/>
              <a:t>Hot vector</a:t>
            </a:r>
          </a:p>
          <a:p>
            <a:pPr lvl="2"/>
            <a:r>
              <a:rPr lang="en-US" dirty="0"/>
              <a:t>Bag of words</a:t>
            </a:r>
          </a:p>
          <a:p>
            <a:pPr lvl="2"/>
            <a:r>
              <a:rPr lang="en-US" dirty="0"/>
              <a:t>TFIDF</a:t>
            </a:r>
          </a:p>
          <a:p>
            <a:pPr lvl="2"/>
            <a:r>
              <a:rPr lang="en-US" dirty="0"/>
              <a:t>Word2Vec</a:t>
            </a:r>
          </a:p>
          <a:p>
            <a:endParaRPr lang="en-US" dirty="0"/>
          </a:p>
          <a:p>
            <a:r>
              <a:rPr lang="en-US" b="1" dirty="0">
                <a:solidFill>
                  <a:schemeClr val="accent6">
                    <a:lumMod val="75000"/>
                  </a:schemeClr>
                </a:solidFill>
              </a:rPr>
              <a:t>Text Mining:</a:t>
            </a:r>
          </a:p>
          <a:p>
            <a:pPr lvl="2"/>
            <a:r>
              <a:rPr lang="en-US" dirty="0"/>
              <a:t>Sentiment Analysis</a:t>
            </a:r>
          </a:p>
          <a:p>
            <a:pPr lvl="2"/>
            <a:r>
              <a:rPr lang="en-US" dirty="0"/>
              <a:t>Document Similarity</a:t>
            </a:r>
          </a:p>
          <a:p>
            <a:pPr lvl="2"/>
            <a:r>
              <a:rPr lang="en-US" dirty="0"/>
              <a:t>Topic Modeling/Feature Selection</a:t>
            </a:r>
          </a:p>
        </p:txBody>
      </p:sp>
      <p:pic>
        <p:nvPicPr>
          <p:cNvPr id="4" name="Picture 3">
            <a:extLst>
              <a:ext uri="{FF2B5EF4-FFF2-40B4-BE49-F238E27FC236}">
                <a16:creationId xmlns:a16="http://schemas.microsoft.com/office/drawing/2014/main" id="{89F95A4A-C143-9A43-A44C-33B7C7A591F0}"/>
              </a:ext>
            </a:extLst>
          </p:cNvPr>
          <p:cNvPicPr>
            <a:picLocks noChangeAspect="1"/>
          </p:cNvPicPr>
          <p:nvPr/>
        </p:nvPicPr>
        <p:blipFill>
          <a:blip r:embed="rId2"/>
          <a:stretch>
            <a:fillRect/>
          </a:stretch>
        </p:blipFill>
        <p:spPr>
          <a:xfrm>
            <a:off x="6504972" y="402749"/>
            <a:ext cx="1720447" cy="2143942"/>
          </a:xfrm>
          <a:prstGeom prst="rect">
            <a:avLst/>
          </a:prstGeom>
        </p:spPr>
      </p:pic>
      <p:pic>
        <p:nvPicPr>
          <p:cNvPr id="6" name="Picture 5">
            <a:extLst>
              <a:ext uri="{FF2B5EF4-FFF2-40B4-BE49-F238E27FC236}">
                <a16:creationId xmlns:a16="http://schemas.microsoft.com/office/drawing/2014/main" id="{146C06B0-ABB4-0D4A-8BB3-D27A5AFD0AC8}"/>
              </a:ext>
            </a:extLst>
          </p:cNvPr>
          <p:cNvPicPr>
            <a:picLocks noChangeAspect="1"/>
          </p:cNvPicPr>
          <p:nvPr/>
        </p:nvPicPr>
        <p:blipFill>
          <a:blip r:embed="rId3"/>
          <a:stretch>
            <a:fillRect/>
          </a:stretch>
        </p:blipFill>
        <p:spPr>
          <a:xfrm>
            <a:off x="6169024" y="2743461"/>
            <a:ext cx="2855330" cy="1474825"/>
          </a:xfrm>
          <a:prstGeom prst="rect">
            <a:avLst/>
          </a:prstGeom>
        </p:spPr>
      </p:pic>
    </p:spTree>
    <p:extLst>
      <p:ext uri="{BB962C8B-B14F-4D97-AF65-F5344CB8AC3E}">
        <p14:creationId xmlns:p14="http://schemas.microsoft.com/office/powerpoint/2010/main" val="2191083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0AA4AF9-FB9F-438C-89E9-71BDB2A724F1}"/>
              </a:ext>
            </a:extLst>
          </p:cNvPr>
          <p:cNvSpPr>
            <a:spLocks noGrp="1"/>
          </p:cNvSpPr>
          <p:nvPr>
            <p:ph type="title"/>
          </p:nvPr>
        </p:nvSpPr>
        <p:spPr>
          <a:xfrm>
            <a:off x="295593" y="2042399"/>
            <a:ext cx="5724207" cy="1021556"/>
          </a:xfrm>
        </p:spPr>
        <p:txBody>
          <a:bodyPr/>
          <a:lstStyle/>
          <a:p>
            <a:pPr>
              <a:lnSpc>
                <a:spcPct val="150000"/>
              </a:lnSpc>
            </a:pPr>
            <a:r>
              <a:rPr lang="en-CA" sz="2000" cap="none" dirty="0"/>
              <a:t>In the rest of this course – Part 2</a:t>
            </a:r>
            <a:br>
              <a:rPr lang="en-CA" sz="2000" cap="none" dirty="0"/>
            </a:br>
            <a:r>
              <a:rPr lang="en-CA" sz="2000" cap="none" dirty="0"/>
              <a:t>Neural Network </a:t>
            </a:r>
            <a:r>
              <a:rPr lang="en-US" sz="2000" cap="none" dirty="0"/>
              <a:t>and Its Applications </a:t>
            </a:r>
            <a:br>
              <a:rPr lang="en-CA" sz="2000" cap="none" dirty="0"/>
            </a:br>
            <a:br>
              <a:rPr lang="en-CA" sz="2000" cap="none" dirty="0"/>
            </a:br>
            <a:endParaRPr lang="en-CA" sz="2000" cap="none" dirty="0"/>
          </a:p>
        </p:txBody>
      </p:sp>
    </p:spTree>
    <p:extLst>
      <p:ext uri="{BB962C8B-B14F-4D97-AF65-F5344CB8AC3E}">
        <p14:creationId xmlns:p14="http://schemas.microsoft.com/office/powerpoint/2010/main" val="1912550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Data</a:t>
            </a:r>
          </a:p>
        </p:txBody>
      </p:sp>
      <p:sp>
        <p:nvSpPr>
          <p:cNvPr id="3" name="Content Placeholder 2"/>
          <p:cNvSpPr>
            <a:spLocks noGrp="1"/>
          </p:cNvSpPr>
          <p:nvPr>
            <p:ph idx="1"/>
          </p:nvPr>
        </p:nvSpPr>
        <p:spPr/>
        <p:txBody>
          <a:bodyPr/>
          <a:lstStyle/>
          <a:p>
            <a:pPr>
              <a:lnSpc>
                <a:spcPct val="150000"/>
              </a:lnSpc>
            </a:pPr>
            <a:r>
              <a:rPr lang="en-US" dirty="0"/>
              <a:t>Structured</a:t>
            </a:r>
          </a:p>
          <a:p>
            <a:pPr>
              <a:lnSpc>
                <a:spcPct val="150000"/>
              </a:lnSpc>
            </a:pPr>
            <a:r>
              <a:rPr lang="en-US" dirty="0"/>
              <a:t>Unstructured</a:t>
            </a:r>
          </a:p>
          <a:p>
            <a:pPr>
              <a:lnSpc>
                <a:spcPct val="150000"/>
              </a:lnSpc>
            </a:pPr>
            <a:r>
              <a:rPr lang="en-US" dirty="0"/>
              <a:t>Natural language</a:t>
            </a:r>
          </a:p>
          <a:p>
            <a:pPr>
              <a:lnSpc>
                <a:spcPct val="150000"/>
              </a:lnSpc>
            </a:pPr>
            <a:r>
              <a:rPr lang="en-US" dirty="0"/>
              <a:t>Machine-generated</a:t>
            </a:r>
          </a:p>
          <a:p>
            <a:pPr>
              <a:lnSpc>
                <a:spcPct val="150000"/>
              </a:lnSpc>
            </a:pPr>
            <a:r>
              <a:rPr lang="en-US" dirty="0"/>
              <a:t>Graph-based</a:t>
            </a:r>
          </a:p>
          <a:p>
            <a:pPr>
              <a:lnSpc>
                <a:spcPct val="150000"/>
              </a:lnSpc>
            </a:pPr>
            <a:r>
              <a:rPr lang="en-US" dirty="0"/>
              <a:t>Audio, video, and images</a:t>
            </a:r>
          </a:p>
          <a:p>
            <a:pPr>
              <a:lnSpc>
                <a:spcPct val="150000"/>
              </a:lnSpc>
            </a:pPr>
            <a:r>
              <a:rPr lang="en-US" dirty="0"/>
              <a:t>Streaming</a:t>
            </a:r>
          </a:p>
        </p:txBody>
      </p:sp>
    </p:spTree>
    <p:extLst>
      <p:ext uri="{BB962C8B-B14F-4D97-AF65-F5344CB8AC3E}">
        <p14:creationId xmlns:p14="http://schemas.microsoft.com/office/powerpoint/2010/main" val="31755697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Neural Network</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pPr marL="285750" indent="-285750">
              <a:buFont typeface="Courier New"/>
              <a:buChar char="o"/>
            </a:pPr>
            <a:r>
              <a:rPr lang="en-US" sz="1400" dirty="0"/>
              <a:t>Manually designed features are often over-specified, incomplete and take a long time to design and validate</a:t>
            </a:r>
          </a:p>
          <a:p>
            <a:pPr marL="0" indent="0">
              <a:buNone/>
            </a:pPr>
            <a:endParaRPr lang="en-US" sz="1400" dirty="0"/>
          </a:p>
          <a:p>
            <a:pPr marL="285750" indent="-285750">
              <a:buFont typeface="Courier New"/>
              <a:buChar char="o"/>
            </a:pPr>
            <a:r>
              <a:rPr lang="en-US" sz="1400" dirty="0"/>
              <a:t>Deep learning provides a very flexible, (almost?) universal, learnable framework for representing world, visual and linguistic information.</a:t>
            </a:r>
          </a:p>
          <a:p>
            <a:pPr marL="0" indent="0">
              <a:buNone/>
            </a:pPr>
            <a:endParaRPr lang="en-US" sz="1400" dirty="0"/>
          </a:p>
          <a:p>
            <a:pPr marL="285750" indent="-285750">
              <a:buFont typeface="Courier New"/>
              <a:buChar char="o"/>
            </a:pPr>
            <a:r>
              <a:rPr lang="en-US" sz="1400" dirty="0"/>
              <a:t>Effective end-to-end joint system learning</a:t>
            </a:r>
          </a:p>
          <a:p>
            <a:pPr marL="285750" indent="-285750">
              <a:buFont typeface="Courier New"/>
              <a:buChar char="o"/>
            </a:pPr>
            <a:r>
              <a:rPr lang="en-US" sz="1400" dirty="0"/>
              <a:t>Utilize large amounts of training data</a:t>
            </a:r>
          </a:p>
          <a:p>
            <a:pPr marL="0" indent="0">
              <a:buNone/>
            </a:pPr>
            <a:endParaRPr lang="en-US" sz="2000" i="1" dirty="0">
              <a:solidFill>
                <a:srgbClr val="BA6016"/>
              </a:solidFill>
            </a:endParaRPr>
          </a:p>
          <a:p>
            <a:pPr marL="0" indent="0">
              <a:buNone/>
            </a:pPr>
            <a:r>
              <a:rPr lang="en-US" sz="1200" dirty="0"/>
              <a:t>In ~2010 DL started outperforming</a:t>
            </a:r>
          </a:p>
          <a:p>
            <a:pPr marL="0" indent="0">
              <a:buNone/>
            </a:pPr>
            <a:r>
              <a:rPr lang="en-US" sz="1200" dirty="0"/>
              <a:t> other ML techniques </a:t>
            </a:r>
          </a:p>
          <a:p>
            <a:pPr marL="0" indent="0">
              <a:buNone/>
            </a:pPr>
            <a:r>
              <a:rPr lang="en-US" sz="1200" dirty="0"/>
              <a:t>first in speech and vision, then NLP</a:t>
            </a:r>
          </a:p>
          <a:p>
            <a:pPr marL="0" indent="0">
              <a:buNone/>
            </a:pPr>
            <a:endParaRPr lang="en-US" sz="2000" i="1" dirty="0">
              <a:solidFill>
                <a:srgbClr val="BA6016"/>
              </a:solidFill>
            </a:endParaRPr>
          </a:p>
        </p:txBody>
      </p:sp>
      <p:pic>
        <p:nvPicPr>
          <p:cNvPr id="5" name="Picture 4">
            <a:extLst>
              <a:ext uri="{FF2B5EF4-FFF2-40B4-BE49-F238E27FC236}">
                <a16:creationId xmlns:a16="http://schemas.microsoft.com/office/drawing/2014/main" id="{6568F46D-4155-5147-B8F7-D6B4C79C2EAE}"/>
              </a:ext>
            </a:extLst>
          </p:cNvPr>
          <p:cNvPicPr>
            <a:picLocks noChangeAspect="1"/>
          </p:cNvPicPr>
          <p:nvPr/>
        </p:nvPicPr>
        <p:blipFill>
          <a:blip r:embed="rId2"/>
          <a:stretch>
            <a:fillRect/>
          </a:stretch>
        </p:blipFill>
        <p:spPr>
          <a:xfrm>
            <a:off x="5537586" y="2897387"/>
            <a:ext cx="3062404" cy="2006158"/>
          </a:xfrm>
          <a:prstGeom prst="rect">
            <a:avLst/>
          </a:prstGeom>
        </p:spPr>
      </p:pic>
    </p:spTree>
    <p:extLst>
      <p:ext uri="{BB962C8B-B14F-4D97-AF65-F5344CB8AC3E}">
        <p14:creationId xmlns:p14="http://schemas.microsoft.com/office/powerpoint/2010/main" val="3297133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Shallow Neural Network</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r>
              <a:rPr lang="en-US" sz="2000" dirty="0"/>
              <a:t>One layer neural network</a:t>
            </a:r>
          </a:p>
          <a:p>
            <a:pPr algn="ctr"/>
            <a:endParaRPr lang="en-US" sz="2000" dirty="0"/>
          </a:p>
          <a:p>
            <a:pPr algn="ctr"/>
            <a:endParaRPr lang="en-US" sz="2000" dirty="0"/>
          </a:p>
          <a:p>
            <a:pPr algn="ctr"/>
            <a:endParaRPr lang="en-US" sz="2000" dirty="0"/>
          </a:p>
          <a:p>
            <a:pPr marL="0" indent="0" algn="r">
              <a:buNone/>
            </a:pPr>
            <a:endParaRPr lang="en-US" sz="1200" dirty="0"/>
          </a:p>
          <a:p>
            <a:pPr marL="0" indent="0" algn="r">
              <a:buNone/>
            </a:pPr>
            <a:endParaRPr lang="en-US" sz="1200" dirty="0"/>
          </a:p>
          <a:p>
            <a:pPr marL="0" indent="0" algn="ctr">
              <a:buNone/>
            </a:pPr>
            <a:r>
              <a:rPr lang="en-US" sz="1200" dirty="0"/>
              <a:t>								4 + 2 = 6 neurons (not counting inputs)</a:t>
            </a:r>
          </a:p>
          <a:p>
            <a:pPr marL="0" indent="0" algn="ctr">
              <a:buNone/>
            </a:pPr>
            <a:r>
              <a:rPr lang="en-US" sz="1200" dirty="0"/>
              <a:t>						    [3 x 4] + [4 x 2] = 20 weights </a:t>
            </a:r>
          </a:p>
          <a:p>
            <a:pPr marL="0" indent="0" algn="ctr">
              <a:buNone/>
            </a:pPr>
            <a:r>
              <a:rPr lang="en-US" sz="1200" dirty="0"/>
              <a:t>				    4 + 2 = 6 biases</a:t>
            </a:r>
          </a:p>
          <a:p>
            <a:pPr marL="0" indent="0" algn="ctr">
              <a:buNone/>
            </a:pPr>
            <a:r>
              <a:rPr lang="en-US" sz="1200" dirty="0">
                <a:solidFill>
                  <a:schemeClr val="accent2"/>
                </a:solidFill>
              </a:rPr>
              <a:t>					       26</a:t>
            </a:r>
            <a:r>
              <a:rPr lang="en-US" sz="1200" dirty="0"/>
              <a:t> </a:t>
            </a:r>
            <a:r>
              <a:rPr lang="en-US" sz="1200" dirty="0">
                <a:solidFill>
                  <a:schemeClr val="accent2"/>
                </a:solidFill>
              </a:rPr>
              <a:t>learnable </a:t>
            </a:r>
            <a:r>
              <a:rPr lang="en-US" sz="1200" b="1" dirty="0">
                <a:solidFill>
                  <a:schemeClr val="accent2"/>
                </a:solidFill>
              </a:rPr>
              <a:t>parameters</a:t>
            </a:r>
          </a:p>
          <a:p>
            <a:pPr marL="285750" indent="-285750">
              <a:buFont typeface="Courier New"/>
              <a:buChar char="o"/>
            </a:pPr>
            <a:endParaRPr lang="en-US" sz="2000" i="1" dirty="0">
              <a:solidFill>
                <a:srgbClr val="BA6016"/>
              </a:solidFill>
            </a:endParaRPr>
          </a:p>
        </p:txBody>
      </p:sp>
      <p:pic>
        <p:nvPicPr>
          <p:cNvPr id="6" name="Picture 5" descr="300px-Colored_neural_network.svg.png">
            <a:extLst>
              <a:ext uri="{FF2B5EF4-FFF2-40B4-BE49-F238E27FC236}">
                <a16:creationId xmlns:a16="http://schemas.microsoft.com/office/drawing/2014/main" id="{BD6844F3-6FD5-7C4E-AC2A-92C64BACF4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6091" y="1891000"/>
            <a:ext cx="2246778" cy="2703623"/>
          </a:xfrm>
          <a:prstGeom prst="rect">
            <a:avLst/>
          </a:prstGeom>
        </p:spPr>
      </p:pic>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E46242F-6A95-C342-AE56-814790DF74A9}"/>
                  </a:ext>
                </a:extLst>
              </p:cNvPr>
              <p:cNvSpPr txBox="1"/>
              <p:nvPr/>
            </p:nvSpPr>
            <p:spPr>
              <a:xfrm>
                <a:off x="5201920" y="1891000"/>
                <a:ext cx="3082290" cy="36933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accent4"/>
                          </a:solidFill>
                          <a:latin typeface="Cambria Math" charset="0"/>
                        </a:rPr>
                        <m:t>𝒉</m:t>
                      </m:r>
                      <m:r>
                        <a:rPr lang="en-US" sz="2400" b="1" i="1" smtClean="0">
                          <a:solidFill>
                            <a:schemeClr val="accent4"/>
                          </a:solidFill>
                          <a:latin typeface="Cambria Math" charset="0"/>
                        </a:rPr>
                        <m:t>=  </m:t>
                      </m:r>
                      <m:r>
                        <a:rPr lang="el-GR" sz="2400" b="1" i="1" smtClean="0">
                          <a:solidFill>
                            <a:schemeClr val="accent4"/>
                          </a:solidFill>
                          <a:latin typeface="Cambria Math" charset="0"/>
                        </a:rPr>
                        <m:t>𝝈</m:t>
                      </m:r>
                      <m:r>
                        <a:rPr lang="el-GR" sz="2400" b="1" i="1" smtClean="0">
                          <a:solidFill>
                            <a:schemeClr val="accent4"/>
                          </a:solidFill>
                          <a:latin typeface="Cambria Math" charset="0"/>
                        </a:rPr>
                        <m:t>(</m:t>
                      </m:r>
                      <m:sSub>
                        <m:sSubPr>
                          <m:ctrlPr>
                            <a:rPr lang="en-US" sz="2400" b="1" i="1" smtClean="0">
                              <a:solidFill>
                                <a:schemeClr val="accent4"/>
                              </a:solidFill>
                              <a:latin typeface="Cambria Math" panose="02040503050406030204" pitchFamily="18" charset="0"/>
                            </a:rPr>
                          </m:ctrlPr>
                        </m:sSubPr>
                        <m:e>
                          <m:r>
                            <a:rPr lang="en-US" sz="2400" b="1" i="0" smtClean="0">
                              <a:solidFill>
                                <a:schemeClr val="accent4"/>
                              </a:solidFill>
                              <a:latin typeface="Cambria Math" charset="0"/>
                            </a:rPr>
                            <m:t>𝐖</m:t>
                          </m:r>
                        </m:e>
                        <m:sub>
                          <m:r>
                            <a:rPr lang="en-US" sz="2400" b="1" i="1" smtClean="0">
                              <a:solidFill>
                                <a:schemeClr val="accent4"/>
                              </a:solidFill>
                              <a:latin typeface="Cambria Math" charset="0"/>
                            </a:rPr>
                            <m:t>𝟏</m:t>
                          </m:r>
                        </m:sub>
                      </m:sSub>
                      <m:r>
                        <a:rPr lang="en-US" sz="2400" b="1" i="1" smtClean="0">
                          <a:solidFill>
                            <a:schemeClr val="accent4"/>
                          </a:solidFill>
                          <a:latin typeface="Cambria Math" charset="0"/>
                        </a:rPr>
                        <m:t>𝒙</m:t>
                      </m:r>
                      <m:r>
                        <a:rPr lang="en-US" sz="2400" b="1" i="1" smtClean="0">
                          <a:solidFill>
                            <a:schemeClr val="accent4"/>
                          </a:solidFill>
                          <a:latin typeface="Cambria Math" charset="0"/>
                        </a:rPr>
                        <m:t>+</m:t>
                      </m:r>
                      <m:sSub>
                        <m:sSubPr>
                          <m:ctrlPr>
                            <a:rPr lang="en-US" sz="2400" b="1" i="1" smtClean="0">
                              <a:solidFill>
                                <a:schemeClr val="accent4"/>
                              </a:solidFill>
                              <a:latin typeface="Cambria Math" panose="02040503050406030204" pitchFamily="18" charset="0"/>
                            </a:rPr>
                          </m:ctrlPr>
                        </m:sSubPr>
                        <m:e>
                          <m:r>
                            <a:rPr lang="en-US" sz="2400" b="1" i="1" smtClean="0">
                              <a:solidFill>
                                <a:schemeClr val="accent4"/>
                              </a:solidFill>
                              <a:latin typeface="Cambria Math" charset="0"/>
                            </a:rPr>
                            <m:t>𝒃</m:t>
                          </m:r>
                        </m:e>
                        <m:sub>
                          <m:r>
                            <a:rPr lang="en-US" sz="2400" b="1" i="1" smtClean="0">
                              <a:solidFill>
                                <a:schemeClr val="accent4"/>
                              </a:solidFill>
                              <a:latin typeface="Cambria Math" charset="0"/>
                            </a:rPr>
                            <m:t>𝟏</m:t>
                          </m:r>
                        </m:sub>
                      </m:sSub>
                      <m:r>
                        <a:rPr lang="en-US" sz="2400" b="1" i="1" smtClean="0">
                          <a:solidFill>
                            <a:schemeClr val="accent4"/>
                          </a:solidFill>
                          <a:latin typeface="Cambria Math" charset="0"/>
                        </a:rPr>
                        <m:t>)</m:t>
                      </m:r>
                    </m:oMath>
                  </m:oMathPara>
                </a14:m>
                <a:endParaRPr lang="el-GR" sz="2400" b="1" dirty="0">
                  <a:solidFill>
                    <a:schemeClr val="accent4"/>
                  </a:solidFill>
                </a:endParaRPr>
              </a:p>
            </p:txBody>
          </p:sp>
        </mc:Choice>
        <mc:Fallback xmlns="">
          <p:sp>
            <p:nvSpPr>
              <p:cNvPr id="7" name="TextBox 6">
                <a:extLst>
                  <a:ext uri="{FF2B5EF4-FFF2-40B4-BE49-F238E27FC236}">
                    <a16:creationId xmlns:a16="http://schemas.microsoft.com/office/drawing/2014/main" id="{7E46242F-6A95-C342-AE56-814790DF74A9}"/>
                  </a:ext>
                </a:extLst>
              </p:cNvPr>
              <p:cNvSpPr txBox="1">
                <a:spLocks noRot="1" noChangeAspect="1" noMove="1" noResize="1" noEditPoints="1" noAdjustHandles="1" noChangeArrowheads="1" noChangeShapeType="1" noTextEdit="1"/>
              </p:cNvSpPr>
              <p:nvPr/>
            </p:nvSpPr>
            <p:spPr>
              <a:xfrm>
                <a:off x="5201920" y="1891000"/>
                <a:ext cx="3082290" cy="369332"/>
              </a:xfrm>
              <a:prstGeom prst="rect">
                <a:avLst/>
              </a:prstGeom>
              <a:blipFill>
                <a:blip r:embed="rId3"/>
                <a:stretch>
                  <a:fillRect t="-6667" b="-3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AF433AB-4DDE-A24F-9B71-2E56E4511786}"/>
                  </a:ext>
                </a:extLst>
              </p:cNvPr>
              <p:cNvSpPr txBox="1"/>
              <p:nvPr/>
            </p:nvSpPr>
            <p:spPr>
              <a:xfrm>
                <a:off x="5479538" y="2518430"/>
                <a:ext cx="246689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1" i="1" smtClean="0">
                          <a:solidFill>
                            <a:schemeClr val="accent3"/>
                          </a:solidFill>
                          <a:latin typeface="Cambria Math" charset="0"/>
                        </a:rPr>
                        <m:t>𝒚</m:t>
                      </m:r>
                      <m:r>
                        <a:rPr lang="en-US" sz="2400" b="1" i="1" smtClean="0">
                          <a:solidFill>
                            <a:schemeClr val="accent3"/>
                          </a:solidFill>
                          <a:latin typeface="Cambria Math" charset="0"/>
                        </a:rPr>
                        <m:t>=</m:t>
                      </m:r>
                      <m:r>
                        <a:rPr lang="el-GR" sz="2400" b="1" i="1" smtClean="0">
                          <a:solidFill>
                            <a:schemeClr val="accent3"/>
                          </a:solidFill>
                          <a:latin typeface="Cambria Math" charset="0"/>
                        </a:rPr>
                        <m:t>𝝈</m:t>
                      </m:r>
                      <m:r>
                        <a:rPr lang="el-GR" sz="2400" b="1" i="1" smtClean="0">
                          <a:solidFill>
                            <a:schemeClr val="accent3"/>
                          </a:solidFill>
                          <a:latin typeface="Cambria Math" charset="0"/>
                        </a:rPr>
                        <m:t>(</m:t>
                      </m:r>
                      <m:sSub>
                        <m:sSubPr>
                          <m:ctrlPr>
                            <a:rPr lang="en-US" sz="2400" b="1" i="1" smtClean="0">
                              <a:solidFill>
                                <a:schemeClr val="accent3"/>
                              </a:solidFill>
                              <a:latin typeface="Cambria Math" panose="02040503050406030204" pitchFamily="18" charset="0"/>
                            </a:rPr>
                          </m:ctrlPr>
                        </m:sSubPr>
                        <m:e>
                          <m:r>
                            <a:rPr lang="en-US" sz="2400" b="1" i="1" smtClean="0">
                              <a:solidFill>
                                <a:schemeClr val="accent3"/>
                              </a:solidFill>
                              <a:latin typeface="Cambria Math" charset="0"/>
                            </a:rPr>
                            <m:t>𝑾</m:t>
                          </m:r>
                        </m:e>
                        <m:sub>
                          <m:r>
                            <a:rPr lang="en-US" sz="2400" b="1" i="1" smtClean="0">
                              <a:solidFill>
                                <a:schemeClr val="accent3"/>
                              </a:solidFill>
                              <a:latin typeface="Cambria Math" charset="0"/>
                            </a:rPr>
                            <m:t>𝟐</m:t>
                          </m:r>
                        </m:sub>
                      </m:sSub>
                      <m:r>
                        <a:rPr lang="en-US" sz="2400" b="1" i="1" smtClean="0">
                          <a:solidFill>
                            <a:schemeClr val="accent3"/>
                          </a:solidFill>
                          <a:latin typeface="Cambria Math" charset="0"/>
                        </a:rPr>
                        <m:t>𝒉</m:t>
                      </m:r>
                      <m:r>
                        <a:rPr lang="en-US" sz="2400" b="1" i="1" smtClean="0">
                          <a:solidFill>
                            <a:schemeClr val="accent3"/>
                          </a:solidFill>
                          <a:latin typeface="Cambria Math" charset="0"/>
                        </a:rPr>
                        <m:t>+</m:t>
                      </m:r>
                      <m:sSub>
                        <m:sSubPr>
                          <m:ctrlPr>
                            <a:rPr lang="en-US" sz="2400" b="1" i="1" smtClean="0">
                              <a:solidFill>
                                <a:schemeClr val="accent3"/>
                              </a:solidFill>
                              <a:latin typeface="Cambria Math" panose="02040503050406030204" pitchFamily="18" charset="0"/>
                            </a:rPr>
                          </m:ctrlPr>
                        </m:sSubPr>
                        <m:e>
                          <m:r>
                            <a:rPr lang="en-US" sz="2400" b="1" i="1" smtClean="0">
                              <a:solidFill>
                                <a:schemeClr val="accent3"/>
                              </a:solidFill>
                              <a:latin typeface="Cambria Math" charset="0"/>
                            </a:rPr>
                            <m:t>𝒃</m:t>
                          </m:r>
                        </m:e>
                        <m:sub>
                          <m:r>
                            <a:rPr lang="en-US" sz="2400" b="1" i="1" smtClean="0">
                              <a:solidFill>
                                <a:schemeClr val="accent3"/>
                              </a:solidFill>
                              <a:latin typeface="Cambria Math" charset="0"/>
                            </a:rPr>
                            <m:t>𝟐</m:t>
                          </m:r>
                        </m:sub>
                      </m:sSub>
                      <m:r>
                        <a:rPr lang="en-US" sz="2400" b="1" i="1" smtClean="0">
                          <a:solidFill>
                            <a:schemeClr val="accent3"/>
                          </a:solidFill>
                          <a:latin typeface="Cambria Math" charset="0"/>
                        </a:rPr>
                        <m:t>)</m:t>
                      </m:r>
                    </m:oMath>
                  </m:oMathPara>
                </a14:m>
                <a:endParaRPr lang="el-GR" sz="2400" b="1" dirty="0">
                  <a:solidFill>
                    <a:schemeClr val="accent3"/>
                  </a:solidFill>
                </a:endParaRPr>
              </a:p>
            </p:txBody>
          </p:sp>
        </mc:Choice>
        <mc:Fallback xmlns="">
          <p:sp>
            <p:nvSpPr>
              <p:cNvPr id="8" name="TextBox 7">
                <a:extLst>
                  <a:ext uri="{FF2B5EF4-FFF2-40B4-BE49-F238E27FC236}">
                    <a16:creationId xmlns:a16="http://schemas.microsoft.com/office/drawing/2014/main" id="{4AF433AB-4DDE-A24F-9B71-2E56E4511786}"/>
                  </a:ext>
                </a:extLst>
              </p:cNvPr>
              <p:cNvSpPr txBox="1">
                <a:spLocks noRot="1" noChangeAspect="1" noMove="1" noResize="1" noEditPoints="1" noAdjustHandles="1" noChangeArrowheads="1" noChangeShapeType="1" noTextEdit="1"/>
              </p:cNvSpPr>
              <p:nvPr/>
            </p:nvSpPr>
            <p:spPr>
              <a:xfrm>
                <a:off x="5479538" y="2518430"/>
                <a:ext cx="2466894" cy="369332"/>
              </a:xfrm>
              <a:prstGeom prst="rect">
                <a:avLst/>
              </a:prstGeom>
              <a:blipFill>
                <a:blip r:embed="rId4"/>
                <a:stretch>
                  <a:fillRect l="-1531" r="-3061" b="-33333"/>
                </a:stretch>
              </a:blipFill>
            </p:spPr>
            <p:txBody>
              <a:bodyPr/>
              <a:lstStyle/>
              <a:p>
                <a:r>
                  <a:rPr lang="en-US">
                    <a:noFill/>
                  </a:rPr>
                  <a:t> </a:t>
                </a:r>
              </a:p>
            </p:txBody>
          </p:sp>
        </mc:Fallback>
      </mc:AlternateContent>
    </p:spTree>
    <p:extLst>
      <p:ext uri="{BB962C8B-B14F-4D97-AF65-F5344CB8AC3E}">
        <p14:creationId xmlns:p14="http://schemas.microsoft.com/office/powerpoint/2010/main" val="2860690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Deep Learning</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r>
              <a:rPr lang="en-US" sz="2000" dirty="0"/>
              <a:t>Multi-layer neural network</a:t>
            </a:r>
          </a:p>
          <a:p>
            <a:pPr algn="ctr"/>
            <a:endParaRPr lang="en-US" sz="2000" dirty="0"/>
          </a:p>
          <a:p>
            <a:pPr marL="285750" indent="-285750">
              <a:buFont typeface="Courier New"/>
              <a:buChar char="o"/>
            </a:pPr>
            <a:endParaRPr lang="en-US" sz="2000" i="1" dirty="0">
              <a:solidFill>
                <a:srgbClr val="BA6016"/>
              </a:solidFill>
            </a:endParaRPr>
          </a:p>
        </p:txBody>
      </p:sp>
      <p:pic>
        <p:nvPicPr>
          <p:cNvPr id="5" name="Picture 4">
            <a:extLst>
              <a:ext uri="{FF2B5EF4-FFF2-40B4-BE49-F238E27FC236}">
                <a16:creationId xmlns:a16="http://schemas.microsoft.com/office/drawing/2014/main" id="{9072395E-9114-B345-8C84-11BD264756DD}"/>
              </a:ext>
            </a:extLst>
          </p:cNvPr>
          <p:cNvPicPr>
            <a:picLocks noChangeAspect="1"/>
          </p:cNvPicPr>
          <p:nvPr/>
        </p:nvPicPr>
        <p:blipFill>
          <a:blip r:embed="rId2"/>
          <a:stretch>
            <a:fillRect/>
          </a:stretch>
        </p:blipFill>
        <p:spPr>
          <a:xfrm>
            <a:off x="2456122" y="1916541"/>
            <a:ext cx="4890976" cy="2468503"/>
          </a:xfrm>
          <a:prstGeom prst="rect">
            <a:avLst/>
          </a:prstGeom>
        </p:spPr>
      </p:pic>
    </p:spTree>
    <p:extLst>
      <p:ext uri="{BB962C8B-B14F-4D97-AF65-F5344CB8AC3E}">
        <p14:creationId xmlns:p14="http://schemas.microsoft.com/office/powerpoint/2010/main" val="1266485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a:xfrm>
            <a:off x="1717040" y="311567"/>
            <a:ext cx="6969760" cy="857250"/>
          </a:xfrm>
        </p:spPr>
        <p:txBody>
          <a:bodyPr/>
          <a:lstStyle/>
          <a:p>
            <a:pPr lvl="0"/>
            <a:r>
              <a:rPr lang="en-CA" dirty="0"/>
              <a:t>Deep learning vs. Human brain</a:t>
            </a:r>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normAutofit/>
          </a:bodyPr>
          <a:lstStyle/>
          <a:p>
            <a:r>
              <a:rPr lang="en-GB" dirty="0"/>
              <a:t>what exactly is deep learning ?</a:t>
            </a:r>
          </a:p>
          <a:p>
            <a:pPr marL="0" indent="0">
              <a:buFontTx/>
              <a:buNone/>
              <a:defRPr/>
            </a:pPr>
            <a:r>
              <a:rPr lang="en-GB" dirty="0"/>
              <a:t>‘Deep Learning’ means using a neural network</a:t>
            </a:r>
          </a:p>
          <a:p>
            <a:pPr marL="0" indent="0">
              <a:buFontTx/>
              <a:buNone/>
              <a:defRPr/>
            </a:pPr>
            <a:r>
              <a:rPr lang="en-GB" dirty="0"/>
              <a:t>with several layers of nodes between input and output</a:t>
            </a:r>
          </a:p>
          <a:p>
            <a:pPr marL="0" indent="0">
              <a:buFontTx/>
              <a:buNone/>
              <a:defRPr/>
            </a:pPr>
            <a:endParaRPr lang="en-GB" dirty="0"/>
          </a:p>
          <a:p>
            <a:r>
              <a:rPr lang="en-GB" altLang="en-US" kern="0" dirty="0"/>
              <a:t>Your brain works same way-However </a:t>
            </a:r>
          </a:p>
          <a:p>
            <a:pPr marL="0" indent="0">
              <a:buNone/>
            </a:pPr>
            <a:r>
              <a:rPr lang="en-GB" altLang="en-US" kern="0" dirty="0"/>
              <a:t>we have been trained for million of years.</a:t>
            </a:r>
            <a:r>
              <a:rPr lang="en-GB" dirty="0"/>
              <a:t> </a:t>
            </a:r>
          </a:p>
          <a:p>
            <a:pPr marL="0" indent="0">
              <a:buFontTx/>
              <a:buNone/>
              <a:defRPr/>
            </a:pPr>
            <a:r>
              <a:rPr lang="en-GB" dirty="0"/>
              <a:t>  </a:t>
            </a:r>
          </a:p>
          <a:p>
            <a:pPr>
              <a:defRPr/>
            </a:pPr>
            <a:r>
              <a:rPr lang="en-GB" dirty="0"/>
              <a:t>the series of layers between input &amp; </a:t>
            </a:r>
          </a:p>
          <a:p>
            <a:pPr marL="0" indent="0">
              <a:buNone/>
              <a:defRPr/>
            </a:pPr>
            <a:r>
              <a:rPr lang="en-GB" dirty="0"/>
              <a:t>output do feature identification and processing </a:t>
            </a:r>
          </a:p>
          <a:p>
            <a:pPr marL="0" indent="0">
              <a:buNone/>
              <a:defRPr/>
            </a:pPr>
            <a:r>
              <a:rPr lang="en-GB" dirty="0"/>
              <a:t>in a series of stages,  just as our brains seem to.</a:t>
            </a:r>
          </a:p>
          <a:p>
            <a:pPr marL="0" indent="0">
              <a:buNone/>
            </a:pPr>
            <a:endParaRPr lang="en-GB" altLang="en-US" kern="0" dirty="0"/>
          </a:p>
          <a:p>
            <a:pPr marL="0" indent="0">
              <a:buNone/>
            </a:pPr>
            <a:endParaRPr lang="en-US" dirty="0"/>
          </a:p>
        </p:txBody>
      </p:sp>
      <p:pic>
        <p:nvPicPr>
          <p:cNvPr id="6" name="Picture 2" descr="http://upload.wikimedia.org/wikipedia/commons/f/f8/Lateral_geniculate_nucleus.png">
            <a:extLst>
              <a:ext uri="{FF2B5EF4-FFF2-40B4-BE49-F238E27FC236}">
                <a16:creationId xmlns:a16="http://schemas.microsoft.com/office/drawing/2014/main" id="{02E0C97A-A682-9040-848D-9E019D8EBC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7759" y="2917113"/>
            <a:ext cx="2088785" cy="1803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a:extLst>
              <a:ext uri="{FF2B5EF4-FFF2-40B4-BE49-F238E27FC236}">
                <a16:creationId xmlns:a16="http://schemas.microsoft.com/office/drawing/2014/main" id="{209FE406-CCC1-D649-9177-274A8DBA75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8541" y="883090"/>
            <a:ext cx="2087747" cy="1908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47629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Deep leaning</a:t>
            </a:r>
          </a:p>
        </p:txBody>
      </p:sp>
      <p:pic>
        <p:nvPicPr>
          <p:cNvPr id="4" name="Content Placeholder 3">
            <a:extLst>
              <a:ext uri="{FF2B5EF4-FFF2-40B4-BE49-F238E27FC236}">
                <a16:creationId xmlns:a16="http://schemas.microsoft.com/office/drawing/2014/main" id="{0396C475-E49C-5547-8018-884FB975419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239734" y="2917449"/>
            <a:ext cx="2357103" cy="141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oup 14">
            <a:extLst>
              <a:ext uri="{FF2B5EF4-FFF2-40B4-BE49-F238E27FC236}">
                <a16:creationId xmlns:a16="http://schemas.microsoft.com/office/drawing/2014/main" id="{9D6B0FFA-7128-AD4E-828B-4461D4BD0BF8}"/>
              </a:ext>
            </a:extLst>
          </p:cNvPr>
          <p:cNvGrpSpPr/>
          <p:nvPr/>
        </p:nvGrpSpPr>
        <p:grpSpPr>
          <a:xfrm>
            <a:off x="5719294" y="2770661"/>
            <a:ext cx="1933190" cy="1745699"/>
            <a:chOff x="1765560" y="1787561"/>
            <a:chExt cx="1933190" cy="1745699"/>
          </a:xfrm>
        </p:grpSpPr>
        <p:sp>
          <p:nvSpPr>
            <p:cNvPr id="5" name="TextBox 1">
              <a:extLst>
                <a:ext uri="{FF2B5EF4-FFF2-40B4-BE49-F238E27FC236}">
                  <a16:creationId xmlns:a16="http://schemas.microsoft.com/office/drawing/2014/main" id="{129355ED-A8C8-6648-B76E-D19590F22C24}"/>
                </a:ext>
              </a:extLst>
            </p:cNvPr>
            <p:cNvSpPr txBox="1">
              <a:spLocks noChangeArrowheads="1"/>
            </p:cNvSpPr>
            <p:nvPr/>
          </p:nvSpPr>
          <p:spPr bwMode="auto">
            <a:xfrm>
              <a:off x="2479215" y="1949143"/>
              <a:ext cx="51007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dirty="0"/>
                <a:t>W1 </a:t>
              </a:r>
            </a:p>
          </p:txBody>
        </p:sp>
        <p:sp>
          <p:nvSpPr>
            <p:cNvPr id="6" name="TextBox 35">
              <a:extLst>
                <a:ext uri="{FF2B5EF4-FFF2-40B4-BE49-F238E27FC236}">
                  <a16:creationId xmlns:a16="http://schemas.microsoft.com/office/drawing/2014/main" id="{724F877E-BE41-0846-A894-FB0C6979073A}"/>
                </a:ext>
              </a:extLst>
            </p:cNvPr>
            <p:cNvSpPr txBox="1">
              <a:spLocks noChangeArrowheads="1"/>
            </p:cNvSpPr>
            <p:nvPr/>
          </p:nvSpPr>
          <p:spPr bwMode="auto">
            <a:xfrm>
              <a:off x="2334437" y="2393367"/>
              <a:ext cx="51007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dirty="0"/>
                <a:t>W2 </a:t>
              </a:r>
            </a:p>
          </p:txBody>
        </p:sp>
        <p:sp>
          <p:nvSpPr>
            <p:cNvPr id="7" name="TextBox 36">
              <a:extLst>
                <a:ext uri="{FF2B5EF4-FFF2-40B4-BE49-F238E27FC236}">
                  <a16:creationId xmlns:a16="http://schemas.microsoft.com/office/drawing/2014/main" id="{D1AD2090-8DEC-6D48-8986-045DF98E37F3}"/>
                </a:ext>
              </a:extLst>
            </p:cNvPr>
            <p:cNvSpPr txBox="1">
              <a:spLocks noChangeArrowheads="1"/>
            </p:cNvSpPr>
            <p:nvPr/>
          </p:nvSpPr>
          <p:spPr bwMode="auto">
            <a:xfrm>
              <a:off x="2456078" y="3110246"/>
              <a:ext cx="51007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dirty="0"/>
                <a:t>W3 </a:t>
              </a:r>
            </a:p>
          </p:txBody>
        </p:sp>
        <p:sp>
          <p:nvSpPr>
            <p:cNvPr id="8" name="TextBox 39">
              <a:extLst>
                <a:ext uri="{FF2B5EF4-FFF2-40B4-BE49-F238E27FC236}">
                  <a16:creationId xmlns:a16="http://schemas.microsoft.com/office/drawing/2014/main" id="{BCDBE3FE-88B1-D041-B94E-6F666A4FED85}"/>
                </a:ext>
              </a:extLst>
            </p:cNvPr>
            <p:cNvSpPr txBox="1">
              <a:spLocks noChangeArrowheads="1"/>
            </p:cNvSpPr>
            <p:nvPr/>
          </p:nvSpPr>
          <p:spPr bwMode="auto">
            <a:xfrm>
              <a:off x="1939893" y="3210095"/>
              <a:ext cx="42511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dirty="0"/>
                <a:t>1.4</a:t>
              </a:r>
            </a:p>
          </p:txBody>
        </p:sp>
        <p:sp>
          <p:nvSpPr>
            <p:cNvPr id="9" name="TextBox 39">
              <a:extLst>
                <a:ext uri="{FF2B5EF4-FFF2-40B4-BE49-F238E27FC236}">
                  <a16:creationId xmlns:a16="http://schemas.microsoft.com/office/drawing/2014/main" id="{1EC663C9-7209-6C4F-B4AC-9D5974E7BA67}"/>
                </a:ext>
              </a:extLst>
            </p:cNvPr>
            <p:cNvSpPr txBox="1">
              <a:spLocks noChangeArrowheads="1"/>
            </p:cNvSpPr>
            <p:nvPr/>
          </p:nvSpPr>
          <p:spPr bwMode="auto">
            <a:xfrm>
              <a:off x="1875773" y="2460022"/>
              <a:ext cx="48923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dirty="0"/>
                <a:t>-2.5</a:t>
              </a:r>
            </a:p>
          </p:txBody>
        </p:sp>
        <p:sp>
          <p:nvSpPr>
            <p:cNvPr id="10" name="TextBox 39">
              <a:extLst>
                <a:ext uri="{FF2B5EF4-FFF2-40B4-BE49-F238E27FC236}">
                  <a16:creationId xmlns:a16="http://schemas.microsoft.com/office/drawing/2014/main" id="{7462354A-BDEF-7349-9CC3-704479558AE8}"/>
                </a:ext>
              </a:extLst>
            </p:cNvPr>
            <p:cNvSpPr txBox="1">
              <a:spLocks noChangeArrowheads="1"/>
            </p:cNvSpPr>
            <p:nvPr/>
          </p:nvSpPr>
          <p:spPr bwMode="auto">
            <a:xfrm>
              <a:off x="1765560" y="1787561"/>
              <a:ext cx="585417"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dirty="0"/>
                <a:t>-0.06</a:t>
              </a:r>
            </a:p>
          </p:txBody>
        </p:sp>
        <p:sp>
          <p:nvSpPr>
            <p:cNvPr id="11" name="TextBox 2">
              <a:extLst>
                <a:ext uri="{FF2B5EF4-FFF2-40B4-BE49-F238E27FC236}">
                  <a16:creationId xmlns:a16="http://schemas.microsoft.com/office/drawing/2014/main" id="{14FD9F6C-A0A4-8D4D-8028-EE36A47C3F69}"/>
                </a:ext>
              </a:extLst>
            </p:cNvPr>
            <p:cNvSpPr txBox="1">
              <a:spLocks noChangeArrowheads="1"/>
            </p:cNvSpPr>
            <p:nvPr/>
          </p:nvSpPr>
          <p:spPr bwMode="auto">
            <a:xfrm>
              <a:off x="3130966" y="2424381"/>
              <a:ext cx="5677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2000" b="1" i="1" dirty="0"/>
                <a:t>f</a:t>
              </a:r>
              <a:r>
                <a:rPr lang="en-GB" altLang="en-US" sz="2000" b="1" dirty="0"/>
                <a:t>(</a:t>
              </a:r>
              <a:r>
                <a:rPr lang="en-GB" altLang="en-US" sz="2000" b="1" i="1" dirty="0"/>
                <a:t>x</a:t>
              </a:r>
              <a:r>
                <a:rPr lang="en-GB" altLang="en-US" sz="2000" b="1" dirty="0"/>
                <a:t>)</a:t>
              </a:r>
            </a:p>
          </p:txBody>
        </p:sp>
      </p:grpSp>
      <p:sp>
        <p:nvSpPr>
          <p:cNvPr id="13" name="TextBox 1">
            <a:extLst>
              <a:ext uri="{FF2B5EF4-FFF2-40B4-BE49-F238E27FC236}">
                <a16:creationId xmlns:a16="http://schemas.microsoft.com/office/drawing/2014/main" id="{FDD5E800-5FE2-E84F-858D-78BE7DE12D5E}"/>
              </a:ext>
            </a:extLst>
          </p:cNvPr>
          <p:cNvSpPr txBox="1">
            <a:spLocks noChangeArrowheads="1"/>
          </p:cNvSpPr>
          <p:nvPr/>
        </p:nvSpPr>
        <p:spPr bwMode="auto">
          <a:xfrm>
            <a:off x="1554412" y="3772312"/>
            <a:ext cx="2848857"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i="1" dirty="0"/>
              <a:t>x =  -</a:t>
            </a:r>
            <a:r>
              <a:rPr lang="en-GB" altLang="en-US" sz="1500" dirty="0"/>
              <a:t>0.06×1.4 - 2.5×2.7 + 1.4×1.9</a:t>
            </a:r>
            <a:endParaRPr lang="en-GB" altLang="en-US" sz="1500" i="1" dirty="0"/>
          </a:p>
        </p:txBody>
      </p:sp>
      <p:pic>
        <p:nvPicPr>
          <p:cNvPr id="14" name="Picture 2">
            <a:extLst>
              <a:ext uri="{FF2B5EF4-FFF2-40B4-BE49-F238E27FC236}">
                <a16:creationId xmlns:a16="http://schemas.microsoft.com/office/drawing/2014/main" id="{C38B558D-3B0C-7C47-9DEB-EF8307CBE0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1645" y="1004594"/>
            <a:ext cx="2928254" cy="1854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
            <a:extLst>
              <a:ext uri="{FF2B5EF4-FFF2-40B4-BE49-F238E27FC236}">
                <a16:creationId xmlns:a16="http://schemas.microsoft.com/office/drawing/2014/main" id="{BD1E5530-FF42-1941-A16B-F9618D1313CA}"/>
              </a:ext>
            </a:extLst>
          </p:cNvPr>
          <p:cNvSpPr txBox="1">
            <a:spLocks noChangeArrowheads="1"/>
          </p:cNvSpPr>
          <p:nvPr/>
        </p:nvSpPr>
        <p:spPr bwMode="auto">
          <a:xfrm>
            <a:off x="5689660" y="846789"/>
            <a:ext cx="2394182"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cs typeface="Arial" panose="020B0604020202020204" pitchFamily="34" charset="0"/>
              </a:defRPr>
            </a:lvl1pPr>
            <a:lvl2pPr marL="742950" indent="-285750" eaLnBrk="0" hangingPunct="0">
              <a:spcBef>
                <a:spcPct val="20000"/>
              </a:spcBef>
              <a:buChar char="–"/>
              <a:defRPr sz="2800">
                <a:solidFill>
                  <a:schemeClr val="tx1"/>
                </a:solidFill>
                <a:latin typeface="Times New Roman" panose="02020603050405020304" pitchFamily="18" charset="0"/>
                <a:cs typeface="Arial" panose="020B0604020202020204" pitchFamily="34" charset="0"/>
              </a:defRPr>
            </a:lvl2pPr>
            <a:lvl3pPr marL="1143000" indent="-228600" eaLnBrk="0" hangingPunct="0">
              <a:spcBef>
                <a:spcPct val="20000"/>
              </a:spcBef>
              <a:buChar char="•"/>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4pPr>
            <a:lvl5pPr marL="2057400" indent="-228600" eaLnBrk="0" hangingPunct="0">
              <a:spcBef>
                <a:spcPct val="20000"/>
              </a:spcBef>
              <a:buChar char="»"/>
              <a:defRPr sz="20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cs typeface="Arial" panose="020B0604020202020204" pitchFamily="34" charset="0"/>
              </a:defRPr>
            </a:lvl9pPr>
          </a:lstStyle>
          <a:p>
            <a:pPr eaLnBrk="1" hangingPunct="1">
              <a:spcBef>
                <a:spcPct val="0"/>
              </a:spcBef>
              <a:buFontTx/>
              <a:buNone/>
            </a:pPr>
            <a:r>
              <a:rPr lang="en-GB" altLang="en-US" sz="1500" i="1" dirty="0"/>
              <a:t>Training the neural network </a:t>
            </a:r>
          </a:p>
          <a:p>
            <a:pPr eaLnBrk="1" hangingPunct="1">
              <a:spcBef>
                <a:spcPct val="0"/>
              </a:spcBef>
              <a:buFontTx/>
              <a:buNone/>
            </a:pPr>
            <a:r>
              <a:rPr lang="en-GB" altLang="en-US" sz="1500" b="1" i="1" dirty="0"/>
              <a:t>Fields               class</a:t>
            </a:r>
          </a:p>
          <a:p>
            <a:pPr eaLnBrk="1" hangingPunct="1">
              <a:spcBef>
                <a:spcPct val="0"/>
              </a:spcBef>
              <a:buFontTx/>
              <a:buNone/>
            </a:pPr>
            <a:r>
              <a:rPr lang="en-GB" altLang="en-US" sz="1500" dirty="0"/>
              <a:t>1.4  2.7   1.9         0</a:t>
            </a:r>
          </a:p>
          <a:p>
            <a:pPr eaLnBrk="1" hangingPunct="1">
              <a:spcBef>
                <a:spcPct val="0"/>
              </a:spcBef>
              <a:buFontTx/>
              <a:buNone/>
            </a:pPr>
            <a:r>
              <a:rPr lang="en-GB" altLang="en-US" sz="1500" dirty="0"/>
              <a:t>3.8  3.4   3.2         0</a:t>
            </a:r>
          </a:p>
          <a:p>
            <a:pPr eaLnBrk="1" hangingPunct="1">
              <a:spcBef>
                <a:spcPct val="0"/>
              </a:spcBef>
              <a:buFontTx/>
              <a:buNone/>
            </a:pPr>
            <a:r>
              <a:rPr lang="en-GB" altLang="en-US" sz="1500" dirty="0"/>
              <a:t>6.4  2.8   1.7         1</a:t>
            </a:r>
          </a:p>
          <a:p>
            <a:pPr eaLnBrk="1" hangingPunct="1">
              <a:spcBef>
                <a:spcPct val="0"/>
              </a:spcBef>
              <a:buFontTx/>
              <a:buNone/>
            </a:pPr>
            <a:r>
              <a:rPr lang="en-GB" altLang="en-US" sz="1500" dirty="0"/>
              <a:t>4.1  0.1   0.2         0</a:t>
            </a:r>
          </a:p>
          <a:p>
            <a:pPr eaLnBrk="1" hangingPunct="1">
              <a:spcBef>
                <a:spcPct val="0"/>
              </a:spcBef>
              <a:buFontTx/>
              <a:buNone/>
            </a:pPr>
            <a:r>
              <a:rPr lang="en-GB" altLang="en-US" sz="1500" dirty="0"/>
              <a:t>etc …</a:t>
            </a:r>
          </a:p>
        </p:txBody>
      </p:sp>
    </p:spTree>
    <p:extLst>
      <p:ext uri="{BB962C8B-B14F-4D97-AF65-F5344CB8AC3E}">
        <p14:creationId xmlns:p14="http://schemas.microsoft.com/office/powerpoint/2010/main" val="36459820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Neural Network property</a:t>
            </a:r>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pPr marL="0" indent="0">
              <a:buFontTx/>
              <a:buNone/>
            </a:pPr>
            <a:r>
              <a:rPr lang="en-GB" altLang="en-US" dirty="0"/>
              <a:t>NNs use nonlinear </a:t>
            </a:r>
            <a:r>
              <a:rPr lang="en-GB" altLang="en-US" i="1" dirty="0"/>
              <a:t>f</a:t>
            </a:r>
            <a:r>
              <a:rPr lang="en-GB" altLang="en-US" dirty="0"/>
              <a:t>(x) so they can draw complex boundaries.</a:t>
            </a:r>
            <a:endParaRPr lang="en-GB" dirty="0">
              <a:latin typeface="Times New Roman" panose="02020603050405020304" pitchFamily="18" charset="0"/>
              <a:cs typeface="Times New Roman" panose="02020603050405020304" pitchFamily="18" charset="0"/>
            </a:endParaRPr>
          </a:p>
          <a:p>
            <a:endParaRPr lang="en-US" dirty="0"/>
          </a:p>
        </p:txBody>
      </p:sp>
      <p:pic>
        <p:nvPicPr>
          <p:cNvPr id="4" name="Picture 3">
            <a:extLst>
              <a:ext uri="{FF2B5EF4-FFF2-40B4-BE49-F238E27FC236}">
                <a16:creationId xmlns:a16="http://schemas.microsoft.com/office/drawing/2014/main" id="{A68169D3-D363-B246-B48E-F2E21C5928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29740" y="2769116"/>
            <a:ext cx="2335028" cy="1366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reeform 4">
            <a:extLst>
              <a:ext uri="{FF2B5EF4-FFF2-40B4-BE49-F238E27FC236}">
                <a16:creationId xmlns:a16="http://schemas.microsoft.com/office/drawing/2014/main" id="{DC8E298D-2616-8E43-87E4-5BA4DCA4E0B2}"/>
              </a:ext>
            </a:extLst>
          </p:cNvPr>
          <p:cNvSpPr/>
          <p:nvPr/>
        </p:nvSpPr>
        <p:spPr>
          <a:xfrm>
            <a:off x="3583407" y="2726583"/>
            <a:ext cx="2774857" cy="1058605"/>
          </a:xfrm>
          <a:custGeom>
            <a:avLst/>
            <a:gdLst>
              <a:gd name="connsiteX0" fmla="*/ 0 w 4291013"/>
              <a:gd name="connsiteY0" fmla="*/ 1209040 h 2001520"/>
              <a:gd name="connsiteX1" fmla="*/ 81280 w 4291013"/>
              <a:gd name="connsiteY1" fmla="*/ 1198880 h 2001520"/>
              <a:gd name="connsiteX2" fmla="*/ 101600 w 4291013"/>
              <a:gd name="connsiteY2" fmla="*/ 1259840 h 2001520"/>
              <a:gd name="connsiteX3" fmla="*/ 457200 w 4291013"/>
              <a:gd name="connsiteY3" fmla="*/ 1280160 h 2001520"/>
              <a:gd name="connsiteX4" fmla="*/ 518160 w 4291013"/>
              <a:gd name="connsiteY4" fmla="*/ 1290320 h 2001520"/>
              <a:gd name="connsiteX5" fmla="*/ 568960 w 4291013"/>
              <a:gd name="connsiteY5" fmla="*/ 1310640 h 2001520"/>
              <a:gd name="connsiteX6" fmla="*/ 741680 w 4291013"/>
              <a:gd name="connsiteY6" fmla="*/ 1402080 h 2001520"/>
              <a:gd name="connsiteX7" fmla="*/ 812800 w 4291013"/>
              <a:gd name="connsiteY7" fmla="*/ 1473200 h 2001520"/>
              <a:gd name="connsiteX8" fmla="*/ 894080 w 4291013"/>
              <a:gd name="connsiteY8" fmla="*/ 1524000 h 2001520"/>
              <a:gd name="connsiteX9" fmla="*/ 955040 w 4291013"/>
              <a:gd name="connsiteY9" fmla="*/ 1574800 h 2001520"/>
              <a:gd name="connsiteX10" fmla="*/ 995680 w 4291013"/>
              <a:gd name="connsiteY10" fmla="*/ 1605280 h 2001520"/>
              <a:gd name="connsiteX11" fmla="*/ 1026160 w 4291013"/>
              <a:gd name="connsiteY11" fmla="*/ 1645920 h 2001520"/>
              <a:gd name="connsiteX12" fmla="*/ 1066800 w 4291013"/>
              <a:gd name="connsiteY12" fmla="*/ 1666240 h 2001520"/>
              <a:gd name="connsiteX13" fmla="*/ 1097280 w 4291013"/>
              <a:gd name="connsiteY13" fmla="*/ 1686560 h 2001520"/>
              <a:gd name="connsiteX14" fmla="*/ 1107440 w 4291013"/>
              <a:gd name="connsiteY14" fmla="*/ 1717040 h 2001520"/>
              <a:gd name="connsiteX15" fmla="*/ 1026160 w 4291013"/>
              <a:gd name="connsiteY15" fmla="*/ 1767840 h 2001520"/>
              <a:gd name="connsiteX16" fmla="*/ 975360 w 4291013"/>
              <a:gd name="connsiteY16" fmla="*/ 1818640 h 2001520"/>
              <a:gd name="connsiteX17" fmla="*/ 914400 w 4291013"/>
              <a:gd name="connsiteY17" fmla="*/ 1899920 h 2001520"/>
              <a:gd name="connsiteX18" fmla="*/ 955040 w 4291013"/>
              <a:gd name="connsiteY18" fmla="*/ 1940560 h 2001520"/>
              <a:gd name="connsiteX19" fmla="*/ 1005840 w 4291013"/>
              <a:gd name="connsiteY19" fmla="*/ 1971040 h 2001520"/>
              <a:gd name="connsiteX20" fmla="*/ 1036320 w 4291013"/>
              <a:gd name="connsiteY20" fmla="*/ 1981200 h 2001520"/>
              <a:gd name="connsiteX21" fmla="*/ 1259840 w 4291013"/>
              <a:gd name="connsiteY21" fmla="*/ 2001520 h 2001520"/>
              <a:gd name="connsiteX22" fmla="*/ 1544320 w 4291013"/>
              <a:gd name="connsiteY22" fmla="*/ 1991360 h 2001520"/>
              <a:gd name="connsiteX23" fmla="*/ 1747520 w 4291013"/>
              <a:gd name="connsiteY23" fmla="*/ 1940560 h 2001520"/>
              <a:gd name="connsiteX24" fmla="*/ 1910080 w 4291013"/>
              <a:gd name="connsiteY24" fmla="*/ 1920240 h 2001520"/>
              <a:gd name="connsiteX25" fmla="*/ 2133600 w 4291013"/>
              <a:gd name="connsiteY25" fmla="*/ 1859280 h 2001520"/>
              <a:gd name="connsiteX26" fmla="*/ 2357120 w 4291013"/>
              <a:gd name="connsiteY26" fmla="*/ 1818640 h 2001520"/>
              <a:gd name="connsiteX27" fmla="*/ 2468880 w 4291013"/>
              <a:gd name="connsiteY27" fmla="*/ 1788160 h 2001520"/>
              <a:gd name="connsiteX28" fmla="*/ 2560320 w 4291013"/>
              <a:gd name="connsiteY28" fmla="*/ 1767840 h 2001520"/>
              <a:gd name="connsiteX29" fmla="*/ 2712720 w 4291013"/>
              <a:gd name="connsiteY29" fmla="*/ 1696720 h 2001520"/>
              <a:gd name="connsiteX30" fmla="*/ 2794000 w 4291013"/>
              <a:gd name="connsiteY30" fmla="*/ 1656080 h 2001520"/>
              <a:gd name="connsiteX31" fmla="*/ 2875280 w 4291013"/>
              <a:gd name="connsiteY31" fmla="*/ 1564640 h 2001520"/>
              <a:gd name="connsiteX32" fmla="*/ 2885440 w 4291013"/>
              <a:gd name="connsiteY32" fmla="*/ 1513840 h 2001520"/>
              <a:gd name="connsiteX33" fmla="*/ 2915920 w 4291013"/>
              <a:gd name="connsiteY33" fmla="*/ 1422400 h 2001520"/>
              <a:gd name="connsiteX34" fmla="*/ 2905760 w 4291013"/>
              <a:gd name="connsiteY34" fmla="*/ 1341120 h 2001520"/>
              <a:gd name="connsiteX35" fmla="*/ 2804160 w 4291013"/>
              <a:gd name="connsiteY35" fmla="*/ 1310640 h 2001520"/>
              <a:gd name="connsiteX36" fmla="*/ 2702560 w 4291013"/>
              <a:gd name="connsiteY36" fmla="*/ 1249680 h 2001520"/>
              <a:gd name="connsiteX37" fmla="*/ 2641600 w 4291013"/>
              <a:gd name="connsiteY37" fmla="*/ 1219200 h 2001520"/>
              <a:gd name="connsiteX38" fmla="*/ 2600960 w 4291013"/>
              <a:gd name="connsiteY38" fmla="*/ 1178560 h 2001520"/>
              <a:gd name="connsiteX39" fmla="*/ 2550160 w 4291013"/>
              <a:gd name="connsiteY39" fmla="*/ 1137920 h 2001520"/>
              <a:gd name="connsiteX40" fmla="*/ 2377440 w 4291013"/>
              <a:gd name="connsiteY40" fmla="*/ 1046480 h 2001520"/>
              <a:gd name="connsiteX41" fmla="*/ 2326640 w 4291013"/>
              <a:gd name="connsiteY41" fmla="*/ 1036320 h 2001520"/>
              <a:gd name="connsiteX42" fmla="*/ 2286000 w 4291013"/>
              <a:gd name="connsiteY42" fmla="*/ 1016000 h 2001520"/>
              <a:gd name="connsiteX43" fmla="*/ 2448560 w 4291013"/>
              <a:gd name="connsiteY43" fmla="*/ 944880 h 2001520"/>
              <a:gd name="connsiteX44" fmla="*/ 2529840 w 4291013"/>
              <a:gd name="connsiteY44" fmla="*/ 904240 h 2001520"/>
              <a:gd name="connsiteX45" fmla="*/ 2661920 w 4291013"/>
              <a:gd name="connsiteY45" fmla="*/ 822960 h 2001520"/>
              <a:gd name="connsiteX46" fmla="*/ 2753360 w 4291013"/>
              <a:gd name="connsiteY46" fmla="*/ 782320 h 2001520"/>
              <a:gd name="connsiteX47" fmla="*/ 2956560 w 4291013"/>
              <a:gd name="connsiteY47" fmla="*/ 650240 h 2001520"/>
              <a:gd name="connsiteX48" fmla="*/ 3007360 w 4291013"/>
              <a:gd name="connsiteY48" fmla="*/ 619760 h 2001520"/>
              <a:gd name="connsiteX49" fmla="*/ 3119120 w 4291013"/>
              <a:gd name="connsiteY49" fmla="*/ 568960 h 2001520"/>
              <a:gd name="connsiteX50" fmla="*/ 3159760 w 4291013"/>
              <a:gd name="connsiteY50" fmla="*/ 558800 h 2001520"/>
              <a:gd name="connsiteX51" fmla="*/ 3454400 w 4291013"/>
              <a:gd name="connsiteY51" fmla="*/ 325120 h 2001520"/>
              <a:gd name="connsiteX52" fmla="*/ 3576320 w 4291013"/>
              <a:gd name="connsiteY52" fmla="*/ 264160 h 2001520"/>
              <a:gd name="connsiteX53" fmla="*/ 3688080 w 4291013"/>
              <a:gd name="connsiteY53" fmla="*/ 193040 h 2001520"/>
              <a:gd name="connsiteX54" fmla="*/ 3779520 w 4291013"/>
              <a:gd name="connsiteY54" fmla="*/ 152400 h 2001520"/>
              <a:gd name="connsiteX55" fmla="*/ 3870960 w 4291013"/>
              <a:gd name="connsiteY55" fmla="*/ 101600 h 2001520"/>
              <a:gd name="connsiteX56" fmla="*/ 3921760 w 4291013"/>
              <a:gd name="connsiteY56" fmla="*/ 81280 h 2001520"/>
              <a:gd name="connsiteX57" fmla="*/ 4074160 w 4291013"/>
              <a:gd name="connsiteY57" fmla="*/ 40640 h 2001520"/>
              <a:gd name="connsiteX58" fmla="*/ 4155440 w 4291013"/>
              <a:gd name="connsiteY58" fmla="*/ 30480 h 2001520"/>
              <a:gd name="connsiteX59" fmla="*/ 4206240 w 4291013"/>
              <a:gd name="connsiteY59" fmla="*/ 20320 h 2001520"/>
              <a:gd name="connsiteX60" fmla="*/ 4277360 w 4291013"/>
              <a:gd name="connsiteY60" fmla="*/ 0 h 200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291013" h="2001520">
                <a:moveTo>
                  <a:pt x="0" y="1209040"/>
                </a:moveTo>
                <a:cubicBezTo>
                  <a:pt x="27093" y="1205653"/>
                  <a:pt x="56858" y="1186669"/>
                  <a:pt x="81280" y="1198880"/>
                </a:cubicBezTo>
                <a:cubicBezTo>
                  <a:pt x="100438" y="1208459"/>
                  <a:pt x="80216" y="1258618"/>
                  <a:pt x="101600" y="1259840"/>
                </a:cubicBezTo>
                <a:lnTo>
                  <a:pt x="457200" y="1280160"/>
                </a:lnTo>
                <a:cubicBezTo>
                  <a:pt x="477520" y="1283547"/>
                  <a:pt x="498286" y="1284900"/>
                  <a:pt x="518160" y="1290320"/>
                </a:cubicBezTo>
                <a:cubicBezTo>
                  <a:pt x="535755" y="1295119"/>
                  <a:pt x="552197" y="1303456"/>
                  <a:pt x="568960" y="1310640"/>
                </a:cubicBezTo>
                <a:cubicBezTo>
                  <a:pt x="630549" y="1337035"/>
                  <a:pt x="688675" y="1359676"/>
                  <a:pt x="741680" y="1402080"/>
                </a:cubicBezTo>
                <a:cubicBezTo>
                  <a:pt x="767860" y="1423024"/>
                  <a:pt x="786620" y="1452256"/>
                  <a:pt x="812800" y="1473200"/>
                </a:cubicBezTo>
                <a:cubicBezTo>
                  <a:pt x="837749" y="1493159"/>
                  <a:pt x="868081" y="1505430"/>
                  <a:pt x="894080" y="1524000"/>
                </a:cubicBezTo>
                <a:cubicBezTo>
                  <a:pt x="915604" y="1539374"/>
                  <a:pt x="934385" y="1558276"/>
                  <a:pt x="955040" y="1574800"/>
                </a:cubicBezTo>
                <a:cubicBezTo>
                  <a:pt x="968263" y="1585378"/>
                  <a:pt x="983706" y="1593306"/>
                  <a:pt x="995680" y="1605280"/>
                </a:cubicBezTo>
                <a:cubicBezTo>
                  <a:pt x="1007654" y="1617254"/>
                  <a:pt x="1013303" y="1634900"/>
                  <a:pt x="1026160" y="1645920"/>
                </a:cubicBezTo>
                <a:cubicBezTo>
                  <a:pt x="1037659" y="1655777"/>
                  <a:pt x="1053650" y="1658726"/>
                  <a:pt x="1066800" y="1666240"/>
                </a:cubicBezTo>
                <a:cubicBezTo>
                  <a:pt x="1077402" y="1672298"/>
                  <a:pt x="1087120" y="1679787"/>
                  <a:pt x="1097280" y="1686560"/>
                </a:cubicBezTo>
                <a:cubicBezTo>
                  <a:pt x="1100667" y="1696720"/>
                  <a:pt x="1114492" y="1708980"/>
                  <a:pt x="1107440" y="1717040"/>
                </a:cubicBezTo>
                <a:cubicBezTo>
                  <a:pt x="1086401" y="1741085"/>
                  <a:pt x="1048752" y="1745248"/>
                  <a:pt x="1026160" y="1767840"/>
                </a:cubicBezTo>
                <a:cubicBezTo>
                  <a:pt x="1009227" y="1784773"/>
                  <a:pt x="990829" y="1800359"/>
                  <a:pt x="975360" y="1818640"/>
                </a:cubicBezTo>
                <a:cubicBezTo>
                  <a:pt x="953484" y="1844493"/>
                  <a:pt x="914400" y="1899920"/>
                  <a:pt x="914400" y="1899920"/>
                </a:cubicBezTo>
                <a:cubicBezTo>
                  <a:pt x="930656" y="1948688"/>
                  <a:pt x="911691" y="1918885"/>
                  <a:pt x="955040" y="1940560"/>
                </a:cubicBezTo>
                <a:cubicBezTo>
                  <a:pt x="972703" y="1949391"/>
                  <a:pt x="988177" y="1962209"/>
                  <a:pt x="1005840" y="1971040"/>
                </a:cubicBezTo>
                <a:cubicBezTo>
                  <a:pt x="1015419" y="1975829"/>
                  <a:pt x="1025930" y="1978603"/>
                  <a:pt x="1036320" y="1981200"/>
                </a:cubicBezTo>
                <a:cubicBezTo>
                  <a:pt x="1115596" y="2001019"/>
                  <a:pt x="1163651" y="1995862"/>
                  <a:pt x="1259840" y="2001520"/>
                </a:cubicBezTo>
                <a:cubicBezTo>
                  <a:pt x="1354667" y="1998133"/>
                  <a:pt x="1450166" y="2003129"/>
                  <a:pt x="1544320" y="1991360"/>
                </a:cubicBezTo>
                <a:cubicBezTo>
                  <a:pt x="1613599" y="1982700"/>
                  <a:pt x="1678241" y="1949220"/>
                  <a:pt x="1747520" y="1940560"/>
                </a:cubicBezTo>
                <a:lnTo>
                  <a:pt x="1910080" y="1920240"/>
                </a:lnTo>
                <a:cubicBezTo>
                  <a:pt x="1984587" y="1899920"/>
                  <a:pt x="2058293" y="1876395"/>
                  <a:pt x="2133600" y="1859280"/>
                </a:cubicBezTo>
                <a:cubicBezTo>
                  <a:pt x="2207445" y="1842497"/>
                  <a:pt x="2283040" y="1834354"/>
                  <a:pt x="2357120" y="1818640"/>
                </a:cubicBezTo>
                <a:cubicBezTo>
                  <a:pt x="2394893" y="1810627"/>
                  <a:pt x="2431419" y="1797525"/>
                  <a:pt x="2468880" y="1788160"/>
                </a:cubicBezTo>
                <a:cubicBezTo>
                  <a:pt x="2499171" y="1780587"/>
                  <a:pt x="2530365" y="1776650"/>
                  <a:pt x="2560320" y="1767840"/>
                </a:cubicBezTo>
                <a:cubicBezTo>
                  <a:pt x="2647282" y="1742263"/>
                  <a:pt x="2635239" y="1738043"/>
                  <a:pt x="2712720" y="1696720"/>
                </a:cubicBezTo>
                <a:cubicBezTo>
                  <a:pt x="2739448" y="1682465"/>
                  <a:pt x="2769095" y="1673322"/>
                  <a:pt x="2794000" y="1656080"/>
                </a:cubicBezTo>
                <a:cubicBezTo>
                  <a:pt x="2826642" y="1633481"/>
                  <a:pt x="2851738" y="1596030"/>
                  <a:pt x="2875280" y="1564640"/>
                </a:cubicBezTo>
                <a:cubicBezTo>
                  <a:pt x="2878667" y="1547707"/>
                  <a:pt x="2879979" y="1530223"/>
                  <a:pt x="2885440" y="1513840"/>
                </a:cubicBezTo>
                <a:cubicBezTo>
                  <a:pt x="2927504" y="1387647"/>
                  <a:pt x="2886803" y="1567986"/>
                  <a:pt x="2915920" y="1422400"/>
                </a:cubicBezTo>
                <a:cubicBezTo>
                  <a:pt x="2912533" y="1395307"/>
                  <a:pt x="2921418" y="1363488"/>
                  <a:pt x="2905760" y="1341120"/>
                </a:cubicBezTo>
                <a:cubicBezTo>
                  <a:pt x="2900513" y="1333624"/>
                  <a:pt x="2820623" y="1314756"/>
                  <a:pt x="2804160" y="1310640"/>
                </a:cubicBezTo>
                <a:cubicBezTo>
                  <a:pt x="2770293" y="1290320"/>
                  <a:pt x="2737885" y="1267343"/>
                  <a:pt x="2702560" y="1249680"/>
                </a:cubicBezTo>
                <a:cubicBezTo>
                  <a:pt x="2682240" y="1239520"/>
                  <a:pt x="2660212" y="1232228"/>
                  <a:pt x="2641600" y="1219200"/>
                </a:cubicBezTo>
                <a:cubicBezTo>
                  <a:pt x="2625905" y="1208214"/>
                  <a:pt x="2615279" y="1191288"/>
                  <a:pt x="2600960" y="1178560"/>
                </a:cubicBezTo>
                <a:cubicBezTo>
                  <a:pt x="2584752" y="1164153"/>
                  <a:pt x="2567925" y="1150356"/>
                  <a:pt x="2550160" y="1137920"/>
                </a:cubicBezTo>
                <a:cubicBezTo>
                  <a:pt x="2514749" y="1113132"/>
                  <a:pt x="2391967" y="1049385"/>
                  <a:pt x="2377440" y="1046480"/>
                </a:cubicBezTo>
                <a:lnTo>
                  <a:pt x="2326640" y="1036320"/>
                </a:lnTo>
                <a:cubicBezTo>
                  <a:pt x="2313093" y="1029547"/>
                  <a:pt x="2279227" y="1029547"/>
                  <a:pt x="2286000" y="1016000"/>
                </a:cubicBezTo>
                <a:cubicBezTo>
                  <a:pt x="2301795" y="984409"/>
                  <a:pt x="2429142" y="954589"/>
                  <a:pt x="2448560" y="944880"/>
                </a:cubicBezTo>
                <a:cubicBezTo>
                  <a:pt x="2475653" y="931333"/>
                  <a:pt x="2503540" y="919269"/>
                  <a:pt x="2529840" y="904240"/>
                </a:cubicBezTo>
                <a:cubicBezTo>
                  <a:pt x="2642513" y="839856"/>
                  <a:pt x="2537180" y="885330"/>
                  <a:pt x="2661920" y="822960"/>
                </a:cubicBezTo>
                <a:cubicBezTo>
                  <a:pt x="2691753" y="808043"/>
                  <a:pt x="2722880" y="795867"/>
                  <a:pt x="2753360" y="782320"/>
                </a:cubicBezTo>
                <a:cubicBezTo>
                  <a:pt x="2874564" y="661116"/>
                  <a:pt x="2746631" y="776197"/>
                  <a:pt x="2956560" y="650240"/>
                </a:cubicBezTo>
                <a:cubicBezTo>
                  <a:pt x="2973493" y="640080"/>
                  <a:pt x="2990024" y="629216"/>
                  <a:pt x="3007360" y="619760"/>
                </a:cubicBezTo>
                <a:cubicBezTo>
                  <a:pt x="3039928" y="601996"/>
                  <a:pt x="3083114" y="580962"/>
                  <a:pt x="3119120" y="568960"/>
                </a:cubicBezTo>
                <a:cubicBezTo>
                  <a:pt x="3132367" y="564544"/>
                  <a:pt x="3146213" y="562187"/>
                  <a:pt x="3159760" y="558800"/>
                </a:cubicBezTo>
                <a:cubicBezTo>
                  <a:pt x="3171384" y="549113"/>
                  <a:pt x="3398421" y="353110"/>
                  <a:pt x="3454400" y="325120"/>
                </a:cubicBezTo>
                <a:cubicBezTo>
                  <a:pt x="3495040" y="304800"/>
                  <a:pt x="3536764" y="286518"/>
                  <a:pt x="3576320" y="264160"/>
                </a:cubicBezTo>
                <a:cubicBezTo>
                  <a:pt x="3614761" y="242432"/>
                  <a:pt x="3649389" y="214320"/>
                  <a:pt x="3688080" y="193040"/>
                </a:cubicBezTo>
                <a:cubicBezTo>
                  <a:pt x="3717306" y="176966"/>
                  <a:pt x="3749235" y="166378"/>
                  <a:pt x="3779520" y="152400"/>
                </a:cubicBezTo>
                <a:cubicBezTo>
                  <a:pt x="3906719" y="93693"/>
                  <a:pt x="3717343" y="178408"/>
                  <a:pt x="3870960" y="101600"/>
                </a:cubicBezTo>
                <a:cubicBezTo>
                  <a:pt x="3887272" y="93444"/>
                  <a:pt x="3904620" y="87513"/>
                  <a:pt x="3921760" y="81280"/>
                </a:cubicBezTo>
                <a:cubicBezTo>
                  <a:pt x="3971240" y="63287"/>
                  <a:pt x="4022023" y="48661"/>
                  <a:pt x="4074160" y="40640"/>
                </a:cubicBezTo>
                <a:cubicBezTo>
                  <a:pt x="4101147" y="36488"/>
                  <a:pt x="4128453" y="34632"/>
                  <a:pt x="4155440" y="30480"/>
                </a:cubicBezTo>
                <a:cubicBezTo>
                  <a:pt x="4172508" y="27854"/>
                  <a:pt x="4189172" y="22946"/>
                  <a:pt x="4206240" y="20320"/>
                </a:cubicBezTo>
                <a:cubicBezTo>
                  <a:pt x="4290122" y="7415"/>
                  <a:pt x="4307204" y="29844"/>
                  <a:pt x="4277360"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34256038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GB" altLang="en-US" dirty="0"/>
              <a:t>Train multi-layer NNs…</a:t>
            </a:r>
            <a:endParaRPr lang="en-CA" dirty="0"/>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pPr lvl="0"/>
            <a:r>
              <a:rPr lang="en-US" dirty="0"/>
              <a:t>The problem is broken into a discrete series of instructions</a:t>
            </a:r>
            <a:endParaRPr lang="en-CA" dirty="0"/>
          </a:p>
          <a:p>
            <a:pPr lvl="0"/>
            <a:r>
              <a:rPr lang="en-CA" dirty="0"/>
              <a:t>Instructions are executed sequentially </a:t>
            </a:r>
          </a:p>
          <a:p>
            <a:pPr marL="0" indent="0">
              <a:buNone/>
              <a:defRPr/>
            </a:pPr>
            <a:endParaRPr lang="en-GB" dirty="0">
              <a:latin typeface="Times New Roman" panose="02020603050405020304" pitchFamily="18" charset="0"/>
              <a:cs typeface="Times New Roman" panose="02020603050405020304" pitchFamily="18" charset="0"/>
            </a:endParaRPr>
          </a:p>
          <a:p>
            <a:endParaRPr lang="en-US" dirty="0"/>
          </a:p>
        </p:txBody>
      </p:sp>
      <p:pic>
        <p:nvPicPr>
          <p:cNvPr id="6" name="Picture 2">
            <a:extLst>
              <a:ext uri="{FF2B5EF4-FFF2-40B4-BE49-F238E27FC236}">
                <a16:creationId xmlns:a16="http://schemas.microsoft.com/office/drawing/2014/main" id="{DD6C3320-6D1C-134E-8AFE-654EB21EC0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21419825">
            <a:off x="2243470" y="2252789"/>
            <a:ext cx="5752214" cy="161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ounded Rectangle 6">
            <a:extLst>
              <a:ext uri="{FF2B5EF4-FFF2-40B4-BE49-F238E27FC236}">
                <a16:creationId xmlns:a16="http://schemas.microsoft.com/office/drawing/2014/main" id="{741415AB-7D64-7942-8B28-218B7187B9A3}"/>
              </a:ext>
            </a:extLst>
          </p:cNvPr>
          <p:cNvSpPr/>
          <p:nvPr/>
        </p:nvSpPr>
        <p:spPr>
          <a:xfrm>
            <a:off x="2301358" y="1906068"/>
            <a:ext cx="1320800" cy="2306638"/>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 name="Rounded Rectangle 7">
            <a:extLst>
              <a:ext uri="{FF2B5EF4-FFF2-40B4-BE49-F238E27FC236}">
                <a16:creationId xmlns:a16="http://schemas.microsoft.com/office/drawing/2014/main" id="{691BE1C2-C7E7-F24D-902F-C00334DF2536}"/>
              </a:ext>
            </a:extLst>
          </p:cNvPr>
          <p:cNvSpPr/>
          <p:nvPr/>
        </p:nvSpPr>
        <p:spPr>
          <a:xfrm>
            <a:off x="3449882" y="1906068"/>
            <a:ext cx="1320800" cy="2306638"/>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13104401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Deep leaning</a:t>
            </a:r>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r>
              <a:rPr lang="en-US" dirty="0"/>
              <a:t>Flow chart:</a:t>
            </a:r>
          </a:p>
          <a:p>
            <a:endParaRPr lang="en-US" dirty="0"/>
          </a:p>
          <a:p>
            <a:r>
              <a:rPr lang="en-US" dirty="0">
                <a:latin typeface="Times New Roman" panose="02020603050405020304" pitchFamily="18" charset="0"/>
                <a:cs typeface="Times New Roman" panose="02020603050405020304" pitchFamily="18" charset="0"/>
              </a:rPr>
              <a:t>Start with random numbers.</a:t>
            </a:r>
          </a:p>
          <a:p>
            <a:r>
              <a:rPr lang="en-US" dirty="0">
                <a:latin typeface="Times New Roman" panose="02020603050405020304" pitchFamily="18" charset="0"/>
                <a:cs typeface="Times New Roman" panose="02020603050405020304" pitchFamily="18" charset="0"/>
              </a:rPr>
              <a:t>Feed it through to get output</a:t>
            </a:r>
          </a:p>
          <a:p>
            <a:r>
              <a:rPr lang="en-US" dirty="0">
                <a:latin typeface="Times New Roman" panose="02020603050405020304" pitchFamily="18" charset="0"/>
                <a:cs typeface="Times New Roman" panose="02020603050405020304" pitchFamily="18" charset="0"/>
              </a:rPr>
              <a:t>Compare with the target and compute the error</a:t>
            </a:r>
          </a:p>
          <a:p>
            <a:r>
              <a:rPr lang="en-US" dirty="0">
                <a:latin typeface="Times New Roman" panose="02020603050405020304" pitchFamily="18" charset="0"/>
                <a:cs typeface="Times New Roman" panose="02020603050405020304" pitchFamily="18" charset="0"/>
              </a:rPr>
              <a:t>Adjust weights based on the error</a:t>
            </a:r>
          </a:p>
          <a:p>
            <a:pPr>
              <a:defRPr/>
            </a:pPr>
            <a:r>
              <a:rPr lang="en-GB" dirty="0">
                <a:latin typeface="Times New Roman" panose="02020603050405020304" pitchFamily="18" charset="0"/>
                <a:cs typeface="Times New Roman" panose="02020603050405020304" pitchFamily="18" charset="0"/>
              </a:rPr>
              <a:t>Algorithms for weight adjustment are designed to make changes that will reduce the error</a:t>
            </a:r>
          </a:p>
          <a:p>
            <a:pPr>
              <a:defRPr/>
            </a:pPr>
            <a:r>
              <a:rPr lang="en-GB" dirty="0">
                <a:latin typeface="Times New Roman" panose="02020603050405020304" pitchFamily="18" charset="0"/>
                <a:cs typeface="Times New Roman" panose="02020603050405020304" pitchFamily="18" charset="0"/>
              </a:rPr>
              <a:t>Repeat the process till error pass the threshold value</a:t>
            </a:r>
          </a:p>
          <a:p>
            <a:pPr>
              <a:defRPr/>
            </a:pPr>
            <a:endParaRPr lang="en-GB" dirty="0">
              <a:latin typeface="Times New Roman" panose="02020603050405020304" pitchFamily="18"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637625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AI/ Deep Learning Contents</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pPr>
              <a:buFont typeface="Wingdings" charset="2"/>
              <a:buChar char="q"/>
            </a:pPr>
            <a:r>
              <a:rPr lang="en-US" sz="2000" dirty="0"/>
              <a:t>Main components/hyper-parameters: </a:t>
            </a:r>
          </a:p>
          <a:p>
            <a:pPr marL="800100" lvl="1" indent="-342900">
              <a:buFont typeface="Wingdings" charset="2"/>
              <a:buChar char="§"/>
            </a:pPr>
            <a:r>
              <a:rPr lang="en-US" sz="2000" dirty="0"/>
              <a:t>Number of the layers and nodes</a:t>
            </a:r>
          </a:p>
          <a:p>
            <a:pPr marL="800100" lvl="1" indent="-342900">
              <a:buFont typeface="Wingdings" charset="2"/>
              <a:buChar char="§"/>
            </a:pPr>
            <a:r>
              <a:rPr lang="en-US" sz="2000" dirty="0"/>
              <a:t>Activation function</a:t>
            </a:r>
          </a:p>
          <a:p>
            <a:pPr marL="800100" lvl="1" indent="-342900">
              <a:buFont typeface="Wingdings" charset="2"/>
              <a:buChar char="§"/>
            </a:pPr>
            <a:r>
              <a:rPr lang="en-US" sz="2000" dirty="0"/>
              <a:t>Optimizers, cost functions</a:t>
            </a:r>
          </a:p>
          <a:p>
            <a:pPr marL="800100" lvl="1" indent="-342900">
              <a:buFont typeface="Wingdings" charset="2"/>
              <a:buChar char="§"/>
            </a:pPr>
            <a:r>
              <a:rPr lang="en-US" sz="2000" dirty="0"/>
              <a:t>Regularization methods </a:t>
            </a:r>
          </a:p>
          <a:p>
            <a:pPr marL="800100" lvl="1" indent="-342900">
              <a:buFont typeface="Wingdings" charset="2"/>
              <a:buChar char="§"/>
            </a:pPr>
            <a:r>
              <a:rPr lang="en-US" sz="2000" dirty="0"/>
              <a:t>Tuning</a:t>
            </a:r>
          </a:p>
        </p:txBody>
      </p:sp>
    </p:spTree>
    <p:extLst>
      <p:ext uri="{BB962C8B-B14F-4D97-AF65-F5344CB8AC3E}">
        <p14:creationId xmlns:p14="http://schemas.microsoft.com/office/powerpoint/2010/main" val="38682983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9FBFAF-5A14-074A-9AF0-09F0C686C4B6}"/>
              </a:ext>
            </a:extLst>
          </p:cNvPr>
          <p:cNvPicPr>
            <a:picLocks noChangeAspect="1"/>
          </p:cNvPicPr>
          <p:nvPr/>
        </p:nvPicPr>
        <p:blipFill>
          <a:blip r:embed="rId2"/>
          <a:stretch>
            <a:fillRect/>
          </a:stretch>
        </p:blipFill>
        <p:spPr>
          <a:xfrm>
            <a:off x="1932973" y="300942"/>
            <a:ext cx="6481822" cy="4514342"/>
          </a:xfrm>
          <a:prstGeom prst="rect">
            <a:avLst/>
          </a:prstGeom>
        </p:spPr>
      </p:pic>
    </p:spTree>
    <p:extLst>
      <p:ext uri="{BB962C8B-B14F-4D97-AF65-F5344CB8AC3E}">
        <p14:creationId xmlns:p14="http://schemas.microsoft.com/office/powerpoint/2010/main" val="2852357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Unstructured Data</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lstStyle/>
          <a:p>
            <a:r>
              <a:rPr lang="en-US" dirty="0"/>
              <a:t>Majority of business information are unstructured form, primiparity text.</a:t>
            </a:r>
          </a:p>
          <a:p>
            <a:r>
              <a:rPr lang="en-US" dirty="0"/>
              <a:t>Unstructured data occupies 90% of the data by volumes. </a:t>
            </a:r>
          </a:p>
          <a:p>
            <a:pPr marL="0" indent="0">
              <a:buNone/>
            </a:pPr>
            <a:endParaRPr lang="en-US" dirty="0"/>
          </a:p>
          <a:p>
            <a:pPr marL="0" indent="0">
              <a:buNone/>
            </a:pPr>
            <a:endParaRPr lang="en-US" dirty="0"/>
          </a:p>
          <a:p>
            <a:endParaRPr lang="en-US" dirty="0"/>
          </a:p>
          <a:p>
            <a:endParaRPr lang="en-CA" dirty="0"/>
          </a:p>
          <a:p>
            <a:endParaRPr lang="en-CA" dirty="0"/>
          </a:p>
        </p:txBody>
      </p:sp>
      <p:graphicFrame>
        <p:nvGraphicFramePr>
          <p:cNvPr id="4" name="Table 3">
            <a:extLst>
              <a:ext uri="{FF2B5EF4-FFF2-40B4-BE49-F238E27FC236}">
                <a16:creationId xmlns:a16="http://schemas.microsoft.com/office/drawing/2014/main" id="{C01AD8C6-036E-1E40-9BD6-04A7C803294A}"/>
              </a:ext>
            </a:extLst>
          </p:cNvPr>
          <p:cNvGraphicFramePr>
            <a:graphicFrameLocks noGrp="1"/>
          </p:cNvGraphicFramePr>
          <p:nvPr/>
        </p:nvGraphicFramePr>
        <p:xfrm>
          <a:off x="2355939" y="2064783"/>
          <a:ext cx="5395196" cy="265176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4144816586"/>
                    </a:ext>
                  </a:extLst>
                </a:gridCol>
                <a:gridCol w="2347196">
                  <a:extLst>
                    <a:ext uri="{9D8B030D-6E8A-4147-A177-3AD203B41FA5}">
                      <a16:colId xmlns:a16="http://schemas.microsoft.com/office/drawing/2014/main" val="1001984333"/>
                    </a:ext>
                  </a:extLst>
                </a:gridCol>
              </a:tblGrid>
              <a:tr h="370840">
                <a:tc>
                  <a:txBody>
                    <a:bodyPr/>
                    <a:lstStyle/>
                    <a:p>
                      <a:pPr algn="ctr"/>
                      <a:r>
                        <a:rPr lang="en-US" b="1" dirty="0">
                          <a:solidFill>
                            <a:schemeClr val="tx1"/>
                          </a:solidFill>
                        </a:rPr>
                        <a:t>Structured Data</a:t>
                      </a:r>
                    </a:p>
                    <a:p>
                      <a:endParaRPr lang="en-US" b="1" dirty="0">
                        <a:solidFill>
                          <a:schemeClr val="tx1"/>
                        </a:solidFill>
                      </a:endParaRPr>
                    </a:p>
                    <a:p>
                      <a:pPr algn="ctr"/>
                      <a:r>
                        <a:rPr lang="en-US" sz="1400" b="0" dirty="0">
                          <a:solidFill>
                            <a:schemeClr val="tx1"/>
                          </a:solidFill>
                        </a:rPr>
                        <a:t>High degree of organization, such as relational database</a:t>
                      </a:r>
                    </a:p>
                  </a:txBody>
                  <a:tcPr>
                    <a:noFill/>
                  </a:tcPr>
                </a:tc>
                <a:tc>
                  <a:txBody>
                    <a:bodyPr/>
                    <a:lstStyle/>
                    <a:p>
                      <a:pPr algn="ctr"/>
                      <a:r>
                        <a:rPr lang="en-US" b="1" dirty="0">
                          <a:solidFill>
                            <a:schemeClr val="tx1"/>
                          </a:solidFill>
                        </a:rPr>
                        <a:t>Unstructured Data</a:t>
                      </a:r>
                    </a:p>
                    <a:p>
                      <a:endParaRPr lang="en-US" b="1" dirty="0">
                        <a:solidFill>
                          <a:schemeClr val="tx1"/>
                        </a:solidFill>
                      </a:endParaRPr>
                    </a:p>
                    <a:p>
                      <a:r>
                        <a:rPr lang="en-US" sz="1200" b="0" dirty="0">
                          <a:solidFill>
                            <a:schemeClr val="tx1"/>
                          </a:solidFill>
                        </a:rPr>
                        <a:t>Information that is difficult to organize by traditional tools</a:t>
                      </a:r>
                    </a:p>
                    <a:p>
                      <a:endParaRPr lang="en-US" sz="1200" b="0" dirty="0">
                        <a:solidFill>
                          <a:schemeClr val="tx1"/>
                        </a:solidFill>
                      </a:endParaRPr>
                    </a:p>
                  </a:txBody>
                  <a:tcPr>
                    <a:noFill/>
                  </a:tcPr>
                </a:tc>
                <a:extLst>
                  <a:ext uri="{0D108BD9-81ED-4DB2-BD59-A6C34878D82A}">
                    <a16:rowId xmlns:a16="http://schemas.microsoft.com/office/drawing/2014/main" val="885287062"/>
                  </a:ext>
                </a:extLst>
              </a:tr>
              <a:tr h="370840">
                <a:tc>
                  <a:txBody>
                    <a:bodyPr/>
                    <a:lstStyle/>
                    <a:p>
                      <a:endParaRPr lang="en-US" dirty="0"/>
                    </a:p>
                    <a:p>
                      <a:endParaRPr lang="en-US" dirty="0"/>
                    </a:p>
                    <a:p>
                      <a:endParaRPr lang="en-US" dirty="0"/>
                    </a:p>
                    <a:p>
                      <a:endParaRPr lang="en-US" dirty="0"/>
                    </a:p>
                    <a:p>
                      <a:endParaRPr lang="en-US" dirty="0"/>
                    </a:p>
                  </a:txBody>
                  <a:tcPr>
                    <a:noFill/>
                  </a:tcPr>
                </a:tc>
                <a:tc>
                  <a:txBody>
                    <a:bodyPr/>
                    <a:lstStyle/>
                    <a:p>
                      <a:pPr algn="ctr"/>
                      <a:endParaRPr lang="en-US" sz="1400" dirty="0"/>
                    </a:p>
                    <a:p>
                      <a:pPr algn="ctr"/>
                      <a:r>
                        <a:rPr lang="en-US" sz="1400" dirty="0"/>
                        <a:t>The patient came for complaining chest. He smokes two pack a day.</a:t>
                      </a:r>
                    </a:p>
                  </a:txBody>
                  <a:tcPr>
                    <a:noFill/>
                  </a:tcPr>
                </a:tc>
                <a:extLst>
                  <a:ext uri="{0D108BD9-81ED-4DB2-BD59-A6C34878D82A}">
                    <a16:rowId xmlns:a16="http://schemas.microsoft.com/office/drawing/2014/main" val="1213076735"/>
                  </a:ext>
                </a:extLst>
              </a:tr>
            </a:tbl>
          </a:graphicData>
        </a:graphic>
      </p:graphicFrame>
      <p:graphicFrame>
        <p:nvGraphicFramePr>
          <p:cNvPr id="5" name="Table 4">
            <a:extLst>
              <a:ext uri="{FF2B5EF4-FFF2-40B4-BE49-F238E27FC236}">
                <a16:creationId xmlns:a16="http://schemas.microsoft.com/office/drawing/2014/main" id="{184101E9-8418-5C40-876F-6FB9FB6AC4A8}"/>
              </a:ext>
            </a:extLst>
          </p:cNvPr>
          <p:cNvGraphicFramePr>
            <a:graphicFrameLocks noGrp="1"/>
          </p:cNvGraphicFramePr>
          <p:nvPr/>
        </p:nvGraphicFramePr>
        <p:xfrm>
          <a:off x="2565989" y="3180523"/>
          <a:ext cx="2575854" cy="1497464"/>
        </p:xfrm>
        <a:graphic>
          <a:graphicData uri="http://schemas.openxmlformats.org/drawingml/2006/table">
            <a:tbl>
              <a:tblPr firstRow="1" bandRow="1">
                <a:tableStyleId>{5C22544A-7EE6-4342-B048-85BDC9FD1C3A}</a:tableStyleId>
              </a:tblPr>
              <a:tblGrid>
                <a:gridCol w="1328778">
                  <a:extLst>
                    <a:ext uri="{9D8B030D-6E8A-4147-A177-3AD203B41FA5}">
                      <a16:colId xmlns:a16="http://schemas.microsoft.com/office/drawing/2014/main" val="1350467826"/>
                    </a:ext>
                  </a:extLst>
                </a:gridCol>
                <a:gridCol w="1247076">
                  <a:extLst>
                    <a:ext uri="{9D8B030D-6E8A-4147-A177-3AD203B41FA5}">
                      <a16:colId xmlns:a16="http://schemas.microsoft.com/office/drawing/2014/main" val="2472933290"/>
                    </a:ext>
                  </a:extLst>
                </a:gridCol>
              </a:tblGrid>
              <a:tr h="273023">
                <a:tc>
                  <a:txBody>
                    <a:bodyPr/>
                    <a:lstStyle/>
                    <a:p>
                      <a:r>
                        <a:rPr lang="en-US" sz="1300" dirty="0"/>
                        <a:t>Column</a:t>
                      </a:r>
                    </a:p>
                  </a:txBody>
                  <a:tcPr/>
                </a:tc>
                <a:tc>
                  <a:txBody>
                    <a:bodyPr/>
                    <a:lstStyle/>
                    <a:p>
                      <a:r>
                        <a:rPr lang="en-US" sz="1300" dirty="0"/>
                        <a:t>value</a:t>
                      </a:r>
                    </a:p>
                  </a:txBody>
                  <a:tcPr/>
                </a:tc>
                <a:extLst>
                  <a:ext uri="{0D108BD9-81ED-4DB2-BD59-A6C34878D82A}">
                    <a16:rowId xmlns:a16="http://schemas.microsoft.com/office/drawing/2014/main" val="881972177"/>
                  </a:ext>
                </a:extLst>
              </a:tr>
              <a:tr h="383015">
                <a:tc>
                  <a:txBody>
                    <a:bodyPr/>
                    <a:lstStyle/>
                    <a:p>
                      <a:r>
                        <a:rPr lang="en-US" sz="1300" dirty="0"/>
                        <a:t>Patient</a:t>
                      </a:r>
                    </a:p>
                  </a:txBody>
                  <a:tcPr/>
                </a:tc>
                <a:tc>
                  <a:txBody>
                    <a:bodyPr/>
                    <a:lstStyle/>
                    <a:p>
                      <a:r>
                        <a:rPr lang="en-US" sz="1300" dirty="0"/>
                        <a:t>Joe Brown</a:t>
                      </a:r>
                    </a:p>
                  </a:txBody>
                  <a:tcPr/>
                </a:tc>
                <a:extLst>
                  <a:ext uri="{0D108BD9-81ED-4DB2-BD59-A6C34878D82A}">
                    <a16:rowId xmlns:a16="http://schemas.microsoft.com/office/drawing/2014/main" val="877678441"/>
                  </a:ext>
                </a:extLst>
              </a:tr>
              <a:tr h="371750">
                <a:tc>
                  <a:txBody>
                    <a:bodyPr/>
                    <a:lstStyle/>
                    <a:p>
                      <a:r>
                        <a:rPr lang="en-US" sz="1300" dirty="0"/>
                        <a:t>Date of Birth</a:t>
                      </a:r>
                    </a:p>
                  </a:txBody>
                  <a:tcPr/>
                </a:tc>
                <a:tc>
                  <a:txBody>
                    <a:bodyPr/>
                    <a:lstStyle/>
                    <a:p>
                      <a:r>
                        <a:rPr lang="en-US" sz="1300" dirty="0"/>
                        <a:t>02/13/1972</a:t>
                      </a:r>
                    </a:p>
                  </a:txBody>
                  <a:tcPr/>
                </a:tc>
                <a:extLst>
                  <a:ext uri="{0D108BD9-81ED-4DB2-BD59-A6C34878D82A}">
                    <a16:rowId xmlns:a16="http://schemas.microsoft.com/office/drawing/2014/main" val="1333405306"/>
                  </a:ext>
                </a:extLst>
              </a:tr>
              <a:tr h="453139">
                <a:tc>
                  <a:txBody>
                    <a:bodyPr/>
                    <a:lstStyle/>
                    <a:p>
                      <a:r>
                        <a:rPr lang="en-US" sz="1300" dirty="0"/>
                        <a:t>Date Admitted</a:t>
                      </a:r>
                    </a:p>
                  </a:txBody>
                  <a:tcPr/>
                </a:tc>
                <a:tc>
                  <a:txBody>
                    <a:bodyPr/>
                    <a:lstStyle/>
                    <a:p>
                      <a:r>
                        <a:rPr lang="en-US" sz="1300" dirty="0"/>
                        <a:t>02/05/2014</a:t>
                      </a:r>
                    </a:p>
                  </a:txBody>
                  <a:tcPr/>
                </a:tc>
                <a:extLst>
                  <a:ext uri="{0D108BD9-81ED-4DB2-BD59-A6C34878D82A}">
                    <a16:rowId xmlns:a16="http://schemas.microsoft.com/office/drawing/2014/main" val="2725751165"/>
                  </a:ext>
                </a:extLst>
              </a:tr>
            </a:tbl>
          </a:graphicData>
        </a:graphic>
      </p:graphicFrame>
    </p:spTree>
    <p:extLst>
      <p:ext uri="{BB962C8B-B14F-4D97-AF65-F5344CB8AC3E}">
        <p14:creationId xmlns:p14="http://schemas.microsoft.com/office/powerpoint/2010/main" val="834055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normAutofit fontScale="90000"/>
          </a:bodyPr>
          <a:lstStyle/>
          <a:p>
            <a:pPr lvl="0"/>
            <a:r>
              <a:rPr lang="en-GB" altLang="en-US" dirty="0"/>
              <a:t>Fully connected Multi-layer Neural Network</a:t>
            </a:r>
            <a:endParaRPr lang="en-CA" dirty="0"/>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pPr>
              <a:defRPr/>
            </a:pPr>
            <a:endParaRPr lang="en-GB" dirty="0">
              <a:latin typeface="Times New Roman" panose="02020603050405020304" pitchFamily="18" charset="0"/>
              <a:cs typeface="Times New Roman" panose="02020603050405020304" pitchFamily="18" charset="0"/>
            </a:endParaRPr>
          </a:p>
          <a:p>
            <a:endParaRPr lang="en-US" dirty="0"/>
          </a:p>
        </p:txBody>
      </p:sp>
      <p:pic>
        <p:nvPicPr>
          <p:cNvPr id="4" name="Picture 3">
            <a:extLst>
              <a:ext uri="{FF2B5EF4-FFF2-40B4-BE49-F238E27FC236}">
                <a16:creationId xmlns:a16="http://schemas.microsoft.com/office/drawing/2014/main" id="{D49DF9B9-97A9-564B-BEBE-B90332419FCB}"/>
              </a:ext>
            </a:extLst>
          </p:cNvPr>
          <p:cNvPicPr>
            <a:picLocks noChangeAspect="1"/>
          </p:cNvPicPr>
          <p:nvPr/>
        </p:nvPicPr>
        <p:blipFill>
          <a:blip r:embed="rId2"/>
          <a:stretch>
            <a:fillRect/>
          </a:stretch>
        </p:blipFill>
        <p:spPr>
          <a:xfrm>
            <a:off x="2844623" y="1200151"/>
            <a:ext cx="4714594" cy="3166005"/>
          </a:xfrm>
          <a:prstGeom prst="rect">
            <a:avLst/>
          </a:prstGeom>
        </p:spPr>
      </p:pic>
    </p:spTree>
    <p:extLst>
      <p:ext uri="{BB962C8B-B14F-4D97-AF65-F5344CB8AC3E}">
        <p14:creationId xmlns:p14="http://schemas.microsoft.com/office/powerpoint/2010/main" val="1735187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GB" altLang="en-US" dirty="0"/>
              <a:t>Convolutional Neural </a:t>
            </a:r>
            <a:r>
              <a:rPr lang="en-GB" altLang="en-US" dirty="0" err="1"/>
              <a:t>Notework</a:t>
            </a:r>
            <a:endParaRPr lang="en-CA" dirty="0"/>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pPr>
              <a:defRPr/>
            </a:pPr>
            <a:endParaRPr lang="en-GB" dirty="0">
              <a:latin typeface="Times New Roman" panose="02020603050405020304" pitchFamily="18" charset="0"/>
              <a:cs typeface="Times New Roman" panose="02020603050405020304" pitchFamily="18" charset="0"/>
            </a:endParaRPr>
          </a:p>
          <a:p>
            <a:endParaRPr lang="en-US" dirty="0"/>
          </a:p>
        </p:txBody>
      </p:sp>
      <p:pic>
        <p:nvPicPr>
          <p:cNvPr id="4" name="Picture 3">
            <a:extLst>
              <a:ext uri="{FF2B5EF4-FFF2-40B4-BE49-F238E27FC236}">
                <a16:creationId xmlns:a16="http://schemas.microsoft.com/office/drawing/2014/main" id="{6C81AC94-4F49-044D-9E6D-B80A5DCE3CF3}"/>
              </a:ext>
            </a:extLst>
          </p:cNvPr>
          <p:cNvPicPr>
            <a:picLocks noChangeAspect="1"/>
          </p:cNvPicPr>
          <p:nvPr/>
        </p:nvPicPr>
        <p:blipFill>
          <a:blip r:embed="rId2"/>
          <a:stretch>
            <a:fillRect/>
          </a:stretch>
        </p:blipFill>
        <p:spPr>
          <a:xfrm>
            <a:off x="3217761" y="911600"/>
            <a:ext cx="3579809" cy="2084309"/>
          </a:xfrm>
          <a:prstGeom prst="rect">
            <a:avLst/>
          </a:prstGeom>
        </p:spPr>
      </p:pic>
      <p:pic>
        <p:nvPicPr>
          <p:cNvPr id="5" name="Picture 4">
            <a:extLst>
              <a:ext uri="{FF2B5EF4-FFF2-40B4-BE49-F238E27FC236}">
                <a16:creationId xmlns:a16="http://schemas.microsoft.com/office/drawing/2014/main" id="{E9B80891-7315-E84C-8C62-E9F1A9D72697}"/>
              </a:ext>
            </a:extLst>
          </p:cNvPr>
          <p:cNvPicPr>
            <a:picLocks noChangeAspect="1"/>
          </p:cNvPicPr>
          <p:nvPr/>
        </p:nvPicPr>
        <p:blipFill>
          <a:blip r:embed="rId3"/>
          <a:stretch>
            <a:fillRect/>
          </a:stretch>
        </p:blipFill>
        <p:spPr>
          <a:xfrm>
            <a:off x="2788920" y="3182846"/>
            <a:ext cx="4826000" cy="1676400"/>
          </a:xfrm>
          <a:prstGeom prst="rect">
            <a:avLst/>
          </a:prstGeom>
        </p:spPr>
      </p:pic>
    </p:spTree>
    <p:extLst>
      <p:ext uri="{BB962C8B-B14F-4D97-AF65-F5344CB8AC3E}">
        <p14:creationId xmlns:p14="http://schemas.microsoft.com/office/powerpoint/2010/main" val="13215024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GB" altLang="en-US" dirty="0"/>
              <a:t>Convolutional Neural Network</a:t>
            </a:r>
            <a:endParaRPr lang="en-CA" dirty="0"/>
          </a:p>
        </p:txBody>
      </p:sp>
      <p:sp>
        <p:nvSpPr>
          <p:cNvPr id="12" name="Content Placeholder 11">
            <a:extLst>
              <a:ext uri="{FF2B5EF4-FFF2-40B4-BE49-F238E27FC236}">
                <a16:creationId xmlns:a16="http://schemas.microsoft.com/office/drawing/2014/main" id="{9773D415-4E35-624C-83A6-4D96F4181DE7}"/>
              </a:ext>
            </a:extLst>
          </p:cNvPr>
          <p:cNvSpPr>
            <a:spLocks noGrp="1"/>
          </p:cNvSpPr>
          <p:nvPr>
            <p:ph idx="1"/>
          </p:nvPr>
        </p:nvSpPr>
        <p:spPr/>
        <p:txBody>
          <a:bodyPr/>
          <a:lstStyle/>
          <a:p>
            <a:pPr>
              <a:defRPr/>
            </a:pPr>
            <a:endParaRPr lang="en-GB" dirty="0">
              <a:latin typeface="Times New Roman" panose="02020603050405020304" pitchFamily="18" charset="0"/>
              <a:cs typeface="Times New Roman" panose="02020603050405020304" pitchFamily="18" charset="0"/>
            </a:endParaRPr>
          </a:p>
          <a:p>
            <a:endParaRPr lang="en-US" dirty="0"/>
          </a:p>
        </p:txBody>
      </p:sp>
      <p:pic>
        <p:nvPicPr>
          <p:cNvPr id="5" name="Picture 4">
            <a:extLst>
              <a:ext uri="{FF2B5EF4-FFF2-40B4-BE49-F238E27FC236}">
                <a16:creationId xmlns:a16="http://schemas.microsoft.com/office/drawing/2014/main" id="{13A0F9D8-FCA4-CE44-BEBD-1402A5D6AAE4}"/>
              </a:ext>
            </a:extLst>
          </p:cNvPr>
          <p:cNvPicPr>
            <a:picLocks noChangeAspect="1"/>
          </p:cNvPicPr>
          <p:nvPr/>
        </p:nvPicPr>
        <p:blipFill>
          <a:blip r:embed="rId2"/>
          <a:stretch>
            <a:fillRect/>
          </a:stretch>
        </p:blipFill>
        <p:spPr>
          <a:xfrm>
            <a:off x="2640153" y="1431001"/>
            <a:ext cx="4825518" cy="2969550"/>
          </a:xfrm>
          <a:prstGeom prst="rect">
            <a:avLst/>
          </a:prstGeom>
        </p:spPr>
      </p:pic>
    </p:spTree>
    <p:extLst>
      <p:ext uri="{BB962C8B-B14F-4D97-AF65-F5344CB8AC3E}">
        <p14:creationId xmlns:p14="http://schemas.microsoft.com/office/powerpoint/2010/main" val="14231034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5A329-393D-41E2-8381-55ECF62E4A1B}"/>
              </a:ext>
            </a:extLst>
          </p:cNvPr>
          <p:cNvSpPr>
            <a:spLocks noGrp="1"/>
          </p:cNvSpPr>
          <p:nvPr>
            <p:ph type="title"/>
          </p:nvPr>
        </p:nvSpPr>
        <p:spPr/>
        <p:txBody>
          <a:bodyPr/>
          <a:lstStyle/>
          <a:p>
            <a:pPr lvl="0"/>
            <a:r>
              <a:rPr lang="en-CA" dirty="0"/>
              <a:t>DNN frameworks</a:t>
            </a:r>
          </a:p>
        </p:txBody>
      </p:sp>
      <p:sp>
        <p:nvSpPr>
          <p:cNvPr id="3" name="Content Placeholder 2">
            <a:extLst>
              <a:ext uri="{FF2B5EF4-FFF2-40B4-BE49-F238E27FC236}">
                <a16:creationId xmlns:a16="http://schemas.microsoft.com/office/drawing/2014/main" id="{DB080ACF-C931-4431-8DF7-640C98EF89EA}"/>
              </a:ext>
            </a:extLst>
          </p:cNvPr>
          <p:cNvSpPr>
            <a:spLocks noGrp="1"/>
          </p:cNvSpPr>
          <p:nvPr>
            <p:ph idx="1"/>
          </p:nvPr>
        </p:nvSpPr>
        <p:spPr/>
        <p:txBody>
          <a:bodyPr>
            <a:normAutofit/>
          </a:bodyPr>
          <a:lstStyle/>
          <a:p>
            <a:r>
              <a:rPr lang="en-CA" dirty="0"/>
              <a:t>Caffe</a:t>
            </a:r>
          </a:p>
          <a:p>
            <a:r>
              <a:rPr lang="en-CA" dirty="0"/>
              <a:t>CNTK</a:t>
            </a:r>
          </a:p>
          <a:p>
            <a:r>
              <a:rPr lang="en-CA" dirty="0" err="1"/>
              <a:t>Pytorch</a:t>
            </a:r>
            <a:endParaRPr lang="en-CA" dirty="0"/>
          </a:p>
          <a:p>
            <a:r>
              <a:rPr lang="en-CA" dirty="0" err="1"/>
              <a:t>Tensorflow</a:t>
            </a:r>
            <a:endParaRPr lang="en-CA" dirty="0"/>
          </a:p>
          <a:p>
            <a:r>
              <a:rPr lang="en-CA" dirty="0" err="1"/>
              <a:t>Keras</a:t>
            </a:r>
            <a:endParaRPr lang="en-CA" dirty="0"/>
          </a:p>
        </p:txBody>
      </p:sp>
    </p:spTree>
    <p:extLst>
      <p:ext uri="{BB962C8B-B14F-4D97-AF65-F5344CB8AC3E}">
        <p14:creationId xmlns:p14="http://schemas.microsoft.com/office/powerpoint/2010/main" val="14915735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C449F-34AD-4054-9660-BCEDF050675F}"/>
              </a:ext>
            </a:extLst>
          </p:cNvPr>
          <p:cNvSpPr>
            <a:spLocks noGrp="1"/>
          </p:cNvSpPr>
          <p:nvPr>
            <p:ph type="title"/>
          </p:nvPr>
        </p:nvSpPr>
        <p:spPr/>
        <p:txBody>
          <a:bodyPr/>
          <a:lstStyle/>
          <a:p>
            <a:r>
              <a:rPr lang="en-CA" dirty="0"/>
              <a:t>Python for Data Science</a:t>
            </a:r>
          </a:p>
        </p:txBody>
      </p:sp>
      <p:graphicFrame>
        <p:nvGraphicFramePr>
          <p:cNvPr id="4" name="Content Placeholder 3">
            <a:extLst>
              <a:ext uri="{FF2B5EF4-FFF2-40B4-BE49-F238E27FC236}">
                <a16:creationId xmlns:a16="http://schemas.microsoft.com/office/drawing/2014/main" id="{EF978248-4F2C-4E20-A3A8-52DA36652F10}"/>
              </a:ext>
            </a:extLst>
          </p:cNvPr>
          <p:cNvGraphicFramePr>
            <a:graphicFrameLocks noGrp="1"/>
          </p:cNvGraphicFramePr>
          <p:nvPr>
            <p:ph idx="1"/>
            <p:extLst>
              <p:ext uri="{D42A27DB-BD31-4B8C-83A1-F6EECF244321}">
                <p14:modId xmlns:p14="http://schemas.microsoft.com/office/powerpoint/2010/main" val="44506037"/>
              </p:ext>
            </p:extLst>
          </p:nvPr>
        </p:nvGraphicFramePr>
        <p:xfrm>
          <a:off x="1717040" y="1200151"/>
          <a:ext cx="6969760" cy="3394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300656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F2CF2-C7C2-4D42-9E9B-45DB575CB224}"/>
              </a:ext>
            </a:extLst>
          </p:cNvPr>
          <p:cNvSpPr>
            <a:spLocks noGrp="1"/>
          </p:cNvSpPr>
          <p:nvPr>
            <p:ph type="title"/>
          </p:nvPr>
        </p:nvSpPr>
        <p:spPr/>
        <p:txBody>
          <a:bodyPr/>
          <a:lstStyle/>
          <a:p>
            <a:r>
              <a:rPr lang="en-CA" dirty="0"/>
              <a:t>For Next Week</a:t>
            </a:r>
          </a:p>
        </p:txBody>
      </p:sp>
      <p:pic>
        <p:nvPicPr>
          <p:cNvPr id="6" name="Content Placeholder 3">
            <a:extLst>
              <a:ext uri="{FF2B5EF4-FFF2-40B4-BE49-F238E27FC236}">
                <a16:creationId xmlns:a16="http://schemas.microsoft.com/office/drawing/2014/main" id="{14003AF1-0F85-1543-8985-55EC0F6BCA16}"/>
              </a:ext>
            </a:extLst>
          </p:cNvPr>
          <p:cNvPicPr>
            <a:picLocks noChangeAspect="1"/>
          </p:cNvPicPr>
          <p:nvPr/>
        </p:nvPicPr>
        <p:blipFill>
          <a:blip r:embed="rId2"/>
          <a:stretch>
            <a:fillRect/>
          </a:stretch>
        </p:blipFill>
        <p:spPr>
          <a:xfrm>
            <a:off x="1802736" y="1176158"/>
            <a:ext cx="6969125" cy="3144347"/>
          </a:xfrm>
          <a:prstGeom prst="rect">
            <a:avLst/>
          </a:prstGeom>
        </p:spPr>
      </p:pic>
    </p:spTree>
    <p:extLst>
      <p:ext uri="{BB962C8B-B14F-4D97-AF65-F5344CB8AC3E}">
        <p14:creationId xmlns:p14="http://schemas.microsoft.com/office/powerpoint/2010/main" val="3493574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6903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78" name="Shape 78"/>
          <p:cNvSpPr txBox="1">
            <a:spLocks noGrp="1"/>
          </p:cNvSpPr>
          <p:nvPr>
            <p:ph type="title"/>
          </p:nvPr>
        </p:nvSpPr>
        <p:spPr>
          <a:prstGeom prst="rect">
            <a:avLst/>
          </a:prstGeom>
        </p:spPr>
        <p:txBody>
          <a:bodyPr vert="horz" wrap="square" lIns="91401" tIns="91401" rIns="91401" bIns="91401" rtlCol="0" anchor="t" anchorCtr="0">
            <a:noAutofit/>
          </a:bodyPr>
          <a:lstStyle/>
          <a:p>
            <a:r>
              <a:rPr lang="en" dirty="0"/>
              <a:t>Algorithm selection</a:t>
            </a:r>
          </a:p>
        </p:txBody>
      </p:sp>
      <p:sp>
        <p:nvSpPr>
          <p:cNvPr id="79" name="Shape 79"/>
          <p:cNvSpPr txBox="1">
            <a:spLocks noGrp="1"/>
          </p:cNvSpPr>
          <p:nvPr>
            <p:ph idx="1"/>
          </p:nvPr>
        </p:nvSpPr>
        <p:spPr>
          <a:xfrm>
            <a:off x="1717040" y="1083188"/>
            <a:ext cx="4264035" cy="3394472"/>
          </a:xfrm>
          <a:prstGeom prst="rect">
            <a:avLst/>
          </a:prstGeom>
        </p:spPr>
        <p:txBody>
          <a:bodyPr vert="horz" wrap="square" lIns="91401" tIns="91401" rIns="91401" bIns="91401" rtlCol="0" anchor="t" anchorCtr="0">
            <a:noAutofit/>
          </a:bodyPr>
          <a:lstStyle/>
          <a:p>
            <a:r>
              <a:rPr lang="en-US" b="1" dirty="0"/>
              <a:t>Supervised</a:t>
            </a:r>
          </a:p>
          <a:p>
            <a:pPr lvl="1"/>
            <a:r>
              <a:rPr lang="en-US" dirty="0"/>
              <a:t>Task driven (regression/clustering)</a:t>
            </a:r>
          </a:p>
          <a:p>
            <a:pPr lvl="1"/>
            <a:r>
              <a:rPr lang="en-US" dirty="0"/>
              <a:t>Can measure accuracy directly</a:t>
            </a:r>
          </a:p>
          <a:p>
            <a:r>
              <a:rPr lang="en-US" b="1" dirty="0"/>
              <a:t>Unsupervised Learning</a:t>
            </a:r>
          </a:p>
          <a:p>
            <a:pPr lvl="1"/>
            <a:r>
              <a:rPr lang="en-US" dirty="0"/>
              <a:t>Data driven (clustering)</a:t>
            </a:r>
          </a:p>
          <a:p>
            <a:pPr lvl="1"/>
            <a:r>
              <a:rPr lang="en-US" dirty="0"/>
              <a:t>Looking for patterns</a:t>
            </a:r>
          </a:p>
          <a:p>
            <a:pPr lvl="1"/>
            <a:r>
              <a:rPr lang="en" dirty="0"/>
              <a:t>No prior knowledge from data</a:t>
            </a:r>
          </a:p>
          <a:p>
            <a:r>
              <a:rPr lang="en" b="1" dirty="0"/>
              <a:t>Semi-supervised learning</a:t>
            </a:r>
          </a:p>
          <a:p>
            <a:pPr lvl="1"/>
            <a:r>
              <a:rPr lang="en-US" dirty="0"/>
              <a:t>A</a:t>
            </a:r>
            <a:r>
              <a:rPr lang="en" dirty="0"/>
              <a:t> mix of supervised and unsupervised learning</a:t>
            </a:r>
            <a:endParaRPr lang="en-US" dirty="0"/>
          </a:p>
          <a:p>
            <a:r>
              <a:rPr lang="en-US" b="1" dirty="0"/>
              <a:t>Reinforcement Learning</a:t>
            </a:r>
          </a:p>
          <a:p>
            <a:pPr lvl="1"/>
            <a:r>
              <a:rPr lang="en-US" dirty="0"/>
              <a:t>Algorithm learns to react to the environment </a:t>
            </a:r>
          </a:p>
          <a:p>
            <a:pPr lvl="1"/>
            <a:endParaRPr dirty="0"/>
          </a:p>
        </p:txBody>
      </p:sp>
      <p:grpSp>
        <p:nvGrpSpPr>
          <p:cNvPr id="6" name="Group 5">
            <a:extLst>
              <a:ext uri="{FF2B5EF4-FFF2-40B4-BE49-F238E27FC236}">
                <a16:creationId xmlns:a16="http://schemas.microsoft.com/office/drawing/2014/main" id="{1E1FAD27-677A-2247-8A29-F8C6EE928173}"/>
              </a:ext>
            </a:extLst>
          </p:cNvPr>
          <p:cNvGrpSpPr/>
          <p:nvPr/>
        </p:nvGrpSpPr>
        <p:grpSpPr>
          <a:xfrm>
            <a:off x="6284197" y="2271835"/>
            <a:ext cx="1988288" cy="960518"/>
            <a:chOff x="5635074" y="4070350"/>
            <a:chExt cx="2670726" cy="1709280"/>
          </a:xfrm>
        </p:grpSpPr>
        <p:pic>
          <p:nvPicPr>
            <p:cNvPr id="7" name="Picture 6" descr="220px-Cluster-2.svg.png">
              <a:extLst>
                <a:ext uri="{FF2B5EF4-FFF2-40B4-BE49-F238E27FC236}">
                  <a16:creationId xmlns:a16="http://schemas.microsoft.com/office/drawing/2014/main" id="{063793C2-C704-3E4A-8113-84499254A3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5174" y="4070350"/>
              <a:ext cx="1870626" cy="1249918"/>
            </a:xfrm>
            <a:prstGeom prst="rect">
              <a:avLst/>
            </a:prstGeom>
          </p:spPr>
        </p:pic>
        <p:pic>
          <p:nvPicPr>
            <p:cNvPr id="8" name="Picture 7">
              <a:extLst>
                <a:ext uri="{FF2B5EF4-FFF2-40B4-BE49-F238E27FC236}">
                  <a16:creationId xmlns:a16="http://schemas.microsoft.com/office/drawing/2014/main" id="{4E9080C2-9A94-124B-A66C-9B4F673EEA2F}"/>
                </a:ext>
              </a:extLst>
            </p:cNvPr>
            <p:cNvPicPr>
              <a:picLocks noChangeAspect="1"/>
            </p:cNvPicPr>
            <p:nvPr/>
          </p:nvPicPr>
          <p:blipFill>
            <a:blip r:embed="rId4"/>
            <a:stretch>
              <a:fillRect/>
            </a:stretch>
          </p:blipFill>
          <p:spPr>
            <a:xfrm>
              <a:off x="5635074" y="4140200"/>
              <a:ext cx="800100" cy="1117600"/>
            </a:xfrm>
            <a:prstGeom prst="rect">
              <a:avLst/>
            </a:prstGeom>
          </p:spPr>
        </p:pic>
        <p:cxnSp>
          <p:nvCxnSpPr>
            <p:cNvPr id="9" name="Straight Arrow Connector 8">
              <a:extLst>
                <a:ext uri="{FF2B5EF4-FFF2-40B4-BE49-F238E27FC236}">
                  <a16:creationId xmlns:a16="http://schemas.microsoft.com/office/drawing/2014/main" id="{E9F3C0DD-FABE-364E-A219-8E772F0D502A}"/>
                </a:ext>
              </a:extLst>
            </p:cNvPr>
            <p:cNvCxnSpPr/>
            <p:nvPr/>
          </p:nvCxnSpPr>
          <p:spPr>
            <a:xfrm>
              <a:off x="6435174" y="4660900"/>
              <a:ext cx="322266" cy="0"/>
            </a:xfrm>
            <a:prstGeom prst="straightConnector1">
              <a:avLst/>
            </a:prstGeom>
            <a:ln w="38100" cmpd="sng">
              <a:solidFill>
                <a:srgbClr val="4F81BD"/>
              </a:solidFill>
              <a:tailEnd type="arrow"/>
            </a:ln>
          </p:spPr>
          <p:style>
            <a:lnRef idx="2">
              <a:schemeClr val="accent5"/>
            </a:lnRef>
            <a:fillRef idx="0">
              <a:schemeClr val="accent5"/>
            </a:fillRef>
            <a:effectRef idx="1">
              <a:schemeClr val="accent5"/>
            </a:effectRef>
            <a:fontRef idx="minor">
              <a:schemeClr val="tx1"/>
            </a:fontRef>
          </p:style>
        </p:cxnSp>
        <p:sp>
          <p:nvSpPr>
            <p:cNvPr id="10" name="TextBox 9">
              <a:extLst>
                <a:ext uri="{FF2B5EF4-FFF2-40B4-BE49-F238E27FC236}">
                  <a16:creationId xmlns:a16="http://schemas.microsoft.com/office/drawing/2014/main" id="{0DDAB352-4596-584E-976C-8CCE6293F1A5}"/>
                </a:ext>
              </a:extLst>
            </p:cNvPr>
            <p:cNvSpPr txBox="1"/>
            <p:nvPr/>
          </p:nvSpPr>
          <p:spPr>
            <a:xfrm>
              <a:off x="6113217" y="5320269"/>
              <a:ext cx="1040240" cy="459361"/>
            </a:xfrm>
            <a:prstGeom prst="rect">
              <a:avLst/>
            </a:prstGeom>
            <a:noFill/>
          </p:spPr>
          <p:txBody>
            <a:bodyPr wrap="none" rtlCol="0">
              <a:spAutoFit/>
            </a:bodyPr>
            <a:lstStyle/>
            <a:p>
              <a:r>
                <a:rPr lang="en-US" sz="1200" dirty="0"/>
                <a:t>Clustering</a:t>
              </a:r>
            </a:p>
          </p:txBody>
        </p:sp>
      </p:grpSp>
      <p:grpSp>
        <p:nvGrpSpPr>
          <p:cNvPr id="11" name="Group 10">
            <a:extLst>
              <a:ext uri="{FF2B5EF4-FFF2-40B4-BE49-F238E27FC236}">
                <a16:creationId xmlns:a16="http://schemas.microsoft.com/office/drawing/2014/main" id="{15423082-4658-5541-8616-50F98A3398B9}"/>
              </a:ext>
            </a:extLst>
          </p:cNvPr>
          <p:cNvGrpSpPr/>
          <p:nvPr/>
        </p:nvGrpSpPr>
        <p:grpSpPr>
          <a:xfrm>
            <a:off x="7283253" y="744181"/>
            <a:ext cx="1743545" cy="1436330"/>
            <a:chOff x="2806700" y="3998831"/>
            <a:chExt cx="2539492" cy="1624678"/>
          </a:xfrm>
        </p:grpSpPr>
        <p:pic>
          <p:nvPicPr>
            <p:cNvPr id="12" name="Picture 11" descr="m2.gif">
              <a:extLst>
                <a:ext uri="{FF2B5EF4-FFF2-40B4-BE49-F238E27FC236}">
                  <a16:creationId xmlns:a16="http://schemas.microsoft.com/office/drawing/2014/main" id="{5D1B8422-5FE0-6546-A123-602C8BCEC4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06700" y="3998831"/>
              <a:ext cx="2539492" cy="1451138"/>
            </a:xfrm>
            <a:prstGeom prst="rect">
              <a:avLst/>
            </a:prstGeom>
          </p:spPr>
        </p:pic>
        <p:sp>
          <p:nvSpPr>
            <p:cNvPr id="13" name="TextBox 12">
              <a:extLst>
                <a:ext uri="{FF2B5EF4-FFF2-40B4-BE49-F238E27FC236}">
                  <a16:creationId xmlns:a16="http://schemas.microsoft.com/office/drawing/2014/main" id="{17445AE6-8366-2C44-AFDC-A9653C014676}"/>
                </a:ext>
              </a:extLst>
            </p:cNvPr>
            <p:cNvSpPr txBox="1"/>
            <p:nvPr/>
          </p:nvSpPr>
          <p:spPr>
            <a:xfrm>
              <a:off x="3566292" y="5320268"/>
              <a:ext cx="927352" cy="303241"/>
            </a:xfrm>
            <a:prstGeom prst="rect">
              <a:avLst/>
            </a:prstGeom>
            <a:noFill/>
          </p:spPr>
          <p:txBody>
            <a:bodyPr wrap="none" rtlCol="0">
              <a:spAutoFit/>
            </a:bodyPr>
            <a:lstStyle/>
            <a:p>
              <a:r>
                <a:rPr lang="en-US" sz="1200" dirty="0"/>
                <a:t>Regression</a:t>
              </a:r>
            </a:p>
          </p:txBody>
        </p:sp>
      </p:grpSp>
      <p:grpSp>
        <p:nvGrpSpPr>
          <p:cNvPr id="14" name="Group 13">
            <a:extLst>
              <a:ext uri="{FF2B5EF4-FFF2-40B4-BE49-F238E27FC236}">
                <a16:creationId xmlns:a16="http://schemas.microsoft.com/office/drawing/2014/main" id="{829C789C-520A-394F-A03A-81639FF32A5E}"/>
              </a:ext>
            </a:extLst>
          </p:cNvPr>
          <p:cNvGrpSpPr/>
          <p:nvPr/>
        </p:nvGrpSpPr>
        <p:grpSpPr>
          <a:xfrm>
            <a:off x="5662615" y="1073040"/>
            <a:ext cx="1478065" cy="1018615"/>
            <a:chOff x="393134" y="4140200"/>
            <a:chExt cx="2007166" cy="1457067"/>
          </a:xfrm>
        </p:grpSpPr>
        <p:pic>
          <p:nvPicPr>
            <p:cNvPr id="15" name="Picture 14">
              <a:extLst>
                <a:ext uri="{FF2B5EF4-FFF2-40B4-BE49-F238E27FC236}">
                  <a16:creationId xmlns:a16="http://schemas.microsoft.com/office/drawing/2014/main" id="{5642A9B8-8118-8F4B-BCCE-459B1658576E}"/>
                </a:ext>
              </a:extLst>
            </p:cNvPr>
            <p:cNvPicPr>
              <a:picLocks noChangeAspect="1"/>
            </p:cNvPicPr>
            <p:nvPr/>
          </p:nvPicPr>
          <p:blipFill>
            <a:blip r:embed="rId4"/>
            <a:stretch>
              <a:fillRect/>
            </a:stretch>
          </p:blipFill>
          <p:spPr>
            <a:xfrm>
              <a:off x="393134" y="4140200"/>
              <a:ext cx="800100" cy="1117600"/>
            </a:xfrm>
            <a:prstGeom prst="rect">
              <a:avLst/>
            </a:prstGeom>
          </p:spPr>
        </p:pic>
        <p:sp>
          <p:nvSpPr>
            <p:cNvPr id="16" name="Rectangle 15">
              <a:extLst>
                <a:ext uri="{FF2B5EF4-FFF2-40B4-BE49-F238E27FC236}">
                  <a16:creationId xmlns:a16="http://schemas.microsoft.com/office/drawing/2014/main" id="{7929A83F-76F6-F74C-93D2-4AC91F61C62F}"/>
                </a:ext>
              </a:extLst>
            </p:cNvPr>
            <p:cNvSpPr/>
            <p:nvPr/>
          </p:nvSpPr>
          <p:spPr>
            <a:xfrm>
              <a:off x="1587500" y="4229100"/>
              <a:ext cx="812800" cy="34290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000" dirty="0"/>
                <a:t>class A</a:t>
              </a:r>
            </a:p>
          </p:txBody>
        </p:sp>
        <p:sp>
          <p:nvSpPr>
            <p:cNvPr id="17" name="Rectangle 16">
              <a:extLst>
                <a:ext uri="{FF2B5EF4-FFF2-40B4-BE49-F238E27FC236}">
                  <a16:creationId xmlns:a16="http://schemas.microsoft.com/office/drawing/2014/main" id="{82CA1F4B-D010-4246-B1F2-1431E3C01274}"/>
                </a:ext>
              </a:extLst>
            </p:cNvPr>
            <p:cNvSpPr/>
            <p:nvPr/>
          </p:nvSpPr>
          <p:spPr>
            <a:xfrm>
              <a:off x="1587500" y="4775200"/>
              <a:ext cx="812800" cy="34290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a:t>class A</a:t>
              </a:r>
            </a:p>
          </p:txBody>
        </p:sp>
        <p:cxnSp>
          <p:nvCxnSpPr>
            <p:cNvPr id="18" name="Straight Arrow Connector 17">
              <a:extLst>
                <a:ext uri="{FF2B5EF4-FFF2-40B4-BE49-F238E27FC236}">
                  <a16:creationId xmlns:a16="http://schemas.microsoft.com/office/drawing/2014/main" id="{5234AE26-E9B0-414A-9646-A46E318ECBC9}"/>
                </a:ext>
              </a:extLst>
            </p:cNvPr>
            <p:cNvCxnSpPr/>
            <p:nvPr/>
          </p:nvCxnSpPr>
          <p:spPr>
            <a:xfrm>
              <a:off x="1193234" y="4660900"/>
              <a:ext cx="322266" cy="0"/>
            </a:xfrm>
            <a:prstGeom prst="straightConnector1">
              <a:avLst/>
            </a:prstGeom>
            <a:ln w="38100" cmpd="sng">
              <a:solidFill>
                <a:srgbClr val="4F81BD"/>
              </a:solidFill>
              <a:tailEnd type="arrow"/>
            </a:ln>
          </p:spPr>
          <p:style>
            <a:lnRef idx="2">
              <a:schemeClr val="accent5"/>
            </a:lnRef>
            <a:fillRef idx="0">
              <a:schemeClr val="accent5"/>
            </a:fillRef>
            <a:effectRef idx="1">
              <a:schemeClr val="accent5"/>
            </a:effectRef>
            <a:fontRef idx="minor">
              <a:schemeClr val="tx1"/>
            </a:fontRef>
          </p:style>
        </p:cxnSp>
        <p:sp>
          <p:nvSpPr>
            <p:cNvPr id="19" name="TextBox 18">
              <a:extLst>
                <a:ext uri="{FF2B5EF4-FFF2-40B4-BE49-F238E27FC236}">
                  <a16:creationId xmlns:a16="http://schemas.microsoft.com/office/drawing/2014/main" id="{AC3C71C1-DCB3-9844-99C1-DC0A9DD9B3F3}"/>
                </a:ext>
              </a:extLst>
            </p:cNvPr>
            <p:cNvSpPr txBox="1"/>
            <p:nvPr/>
          </p:nvSpPr>
          <p:spPr>
            <a:xfrm>
              <a:off x="693644" y="5320268"/>
              <a:ext cx="1087157" cy="276999"/>
            </a:xfrm>
            <a:prstGeom prst="rect">
              <a:avLst/>
            </a:prstGeom>
            <a:noFill/>
          </p:spPr>
          <p:txBody>
            <a:bodyPr wrap="none" rtlCol="0">
              <a:spAutoFit/>
            </a:bodyPr>
            <a:lstStyle/>
            <a:p>
              <a:r>
                <a:rPr lang="en-US" sz="1200" dirty="0"/>
                <a:t>Classification</a:t>
              </a:r>
            </a:p>
          </p:txBody>
        </p:sp>
      </p:grpSp>
      <p:pic>
        <p:nvPicPr>
          <p:cNvPr id="3" name="Picture 2">
            <a:extLst>
              <a:ext uri="{FF2B5EF4-FFF2-40B4-BE49-F238E27FC236}">
                <a16:creationId xmlns:a16="http://schemas.microsoft.com/office/drawing/2014/main" id="{453F8ECF-2E64-0942-9C0C-AFE3081BEDF6}"/>
              </a:ext>
            </a:extLst>
          </p:cNvPr>
          <p:cNvPicPr>
            <a:picLocks noChangeAspect="1"/>
          </p:cNvPicPr>
          <p:nvPr/>
        </p:nvPicPr>
        <p:blipFill>
          <a:blip r:embed="rId6"/>
          <a:stretch>
            <a:fillRect/>
          </a:stretch>
        </p:blipFill>
        <p:spPr>
          <a:xfrm>
            <a:off x="6497393" y="3779419"/>
            <a:ext cx="1689034" cy="1142634"/>
          </a:xfrm>
          <a:prstGeom prst="rect">
            <a:avLst/>
          </a:prstGeom>
        </p:spPr>
      </p:pic>
    </p:spTree>
    <p:extLst>
      <p:ext uri="{BB962C8B-B14F-4D97-AF65-F5344CB8AC3E}">
        <p14:creationId xmlns:p14="http://schemas.microsoft.com/office/powerpoint/2010/main" val="2992928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78" name="Shape 78"/>
          <p:cNvSpPr txBox="1">
            <a:spLocks noGrp="1"/>
          </p:cNvSpPr>
          <p:nvPr>
            <p:ph type="title"/>
          </p:nvPr>
        </p:nvSpPr>
        <p:spPr>
          <a:prstGeom prst="rect">
            <a:avLst/>
          </a:prstGeom>
        </p:spPr>
        <p:txBody>
          <a:bodyPr vert="horz" wrap="square" lIns="91401" tIns="91401" rIns="91401" bIns="91401" rtlCol="0" anchor="t" anchorCtr="0">
            <a:noAutofit/>
          </a:bodyPr>
          <a:lstStyle/>
          <a:p>
            <a:r>
              <a:rPr lang="en" dirty="0"/>
              <a:t>Algorithm selection</a:t>
            </a:r>
          </a:p>
        </p:txBody>
      </p:sp>
      <p:sp>
        <p:nvSpPr>
          <p:cNvPr id="79" name="Shape 79"/>
          <p:cNvSpPr txBox="1">
            <a:spLocks noGrp="1"/>
          </p:cNvSpPr>
          <p:nvPr>
            <p:ph idx="1"/>
          </p:nvPr>
        </p:nvSpPr>
        <p:spPr>
          <a:xfrm>
            <a:off x="1717040" y="1083188"/>
            <a:ext cx="4264035" cy="3394472"/>
          </a:xfrm>
          <a:prstGeom prst="rect">
            <a:avLst/>
          </a:prstGeom>
        </p:spPr>
        <p:txBody>
          <a:bodyPr vert="horz" wrap="square" lIns="91401" tIns="91401" rIns="91401" bIns="91401" rtlCol="0" anchor="t" anchorCtr="0">
            <a:noAutofit/>
          </a:bodyPr>
          <a:lstStyle/>
          <a:p>
            <a:r>
              <a:rPr lang="en-US" dirty="0"/>
              <a:t> </a:t>
            </a:r>
          </a:p>
          <a:p>
            <a:pPr lvl="1"/>
            <a:endParaRPr dirty="0"/>
          </a:p>
        </p:txBody>
      </p:sp>
      <p:pic>
        <p:nvPicPr>
          <p:cNvPr id="3" name="Picture 2">
            <a:extLst>
              <a:ext uri="{FF2B5EF4-FFF2-40B4-BE49-F238E27FC236}">
                <a16:creationId xmlns:a16="http://schemas.microsoft.com/office/drawing/2014/main" id="{BA15107C-99EB-164F-92AB-71864053D5A2}"/>
              </a:ext>
            </a:extLst>
          </p:cNvPr>
          <p:cNvPicPr>
            <a:picLocks noChangeAspect="1"/>
          </p:cNvPicPr>
          <p:nvPr/>
        </p:nvPicPr>
        <p:blipFill>
          <a:blip r:embed="rId3"/>
          <a:stretch>
            <a:fillRect/>
          </a:stretch>
        </p:blipFill>
        <p:spPr>
          <a:xfrm>
            <a:off x="1802100" y="769531"/>
            <a:ext cx="6982460" cy="4253929"/>
          </a:xfrm>
          <a:prstGeom prst="rect">
            <a:avLst/>
          </a:prstGeom>
        </p:spPr>
      </p:pic>
    </p:spTree>
    <p:extLst>
      <p:ext uri="{BB962C8B-B14F-4D97-AF65-F5344CB8AC3E}">
        <p14:creationId xmlns:p14="http://schemas.microsoft.com/office/powerpoint/2010/main" val="3585427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7254-7706-4B3A-B395-148E5FD082D7}"/>
              </a:ext>
            </a:extLst>
          </p:cNvPr>
          <p:cNvSpPr>
            <a:spLocks noGrp="1"/>
          </p:cNvSpPr>
          <p:nvPr>
            <p:ph type="title"/>
          </p:nvPr>
        </p:nvSpPr>
        <p:spPr/>
        <p:txBody>
          <a:bodyPr/>
          <a:lstStyle/>
          <a:p>
            <a:r>
              <a:rPr lang="en-CA" dirty="0"/>
              <a:t>Algorithm selection (</a:t>
            </a:r>
            <a:r>
              <a:rPr lang="en-CA" dirty="0" err="1"/>
              <a:t>cont</a:t>
            </a:r>
            <a:r>
              <a:rPr lang="en-CA" dirty="0"/>
              <a:t>)</a:t>
            </a:r>
          </a:p>
        </p:txBody>
      </p:sp>
      <p:graphicFrame>
        <p:nvGraphicFramePr>
          <p:cNvPr id="3" name="Diagram 2">
            <a:extLst>
              <a:ext uri="{FF2B5EF4-FFF2-40B4-BE49-F238E27FC236}">
                <a16:creationId xmlns:a16="http://schemas.microsoft.com/office/drawing/2014/main" id="{A4E4423D-8FD5-415E-B8F8-5E2F23A2D396}"/>
              </a:ext>
            </a:extLst>
          </p:cNvPr>
          <p:cNvGraphicFramePr/>
          <p:nvPr>
            <p:extLst/>
          </p:nvPr>
        </p:nvGraphicFramePr>
        <p:xfrm>
          <a:off x="1524000" y="539750"/>
          <a:ext cx="7056120" cy="2508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925D5BDC-59A5-134D-8302-F51527D00304}"/>
              </a:ext>
            </a:extLst>
          </p:cNvPr>
          <p:cNvGraphicFramePr/>
          <p:nvPr>
            <p:extLst>
              <p:ext uri="{D42A27DB-BD31-4B8C-83A1-F6EECF244321}">
                <p14:modId xmlns:p14="http://schemas.microsoft.com/office/powerpoint/2010/main" val="2173568892"/>
              </p:ext>
            </p:extLst>
          </p:nvPr>
        </p:nvGraphicFramePr>
        <p:xfrm>
          <a:off x="1673860" y="3147237"/>
          <a:ext cx="7056120" cy="17862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55636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7254-7706-4B3A-B395-148E5FD082D7}"/>
              </a:ext>
            </a:extLst>
          </p:cNvPr>
          <p:cNvSpPr>
            <a:spLocks noGrp="1"/>
          </p:cNvSpPr>
          <p:nvPr>
            <p:ph type="title"/>
          </p:nvPr>
        </p:nvSpPr>
        <p:spPr/>
        <p:txBody>
          <a:bodyPr/>
          <a:lstStyle/>
          <a:p>
            <a:r>
              <a:rPr lang="en-CA" dirty="0"/>
              <a:t>Algorithm selection (cont.)</a:t>
            </a:r>
          </a:p>
        </p:txBody>
      </p:sp>
      <p:graphicFrame>
        <p:nvGraphicFramePr>
          <p:cNvPr id="3" name="Diagram 2">
            <a:extLst>
              <a:ext uri="{FF2B5EF4-FFF2-40B4-BE49-F238E27FC236}">
                <a16:creationId xmlns:a16="http://schemas.microsoft.com/office/drawing/2014/main" id="{A4E4423D-8FD5-415E-B8F8-5E2F23A2D396}"/>
              </a:ext>
            </a:extLst>
          </p:cNvPr>
          <p:cNvGraphicFramePr/>
          <p:nvPr>
            <p:extLst/>
          </p:nvPr>
        </p:nvGraphicFramePr>
        <p:xfrm>
          <a:off x="1733549" y="889120"/>
          <a:ext cx="7056120" cy="2508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EC86432-6B20-495F-8BAA-DEE95CE21A71}"/>
              </a:ext>
            </a:extLst>
          </p:cNvPr>
          <p:cNvGraphicFramePr/>
          <p:nvPr>
            <p:extLst/>
          </p:nvPr>
        </p:nvGraphicFramePr>
        <p:xfrm>
          <a:off x="1954529" y="3474481"/>
          <a:ext cx="6614160" cy="146304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39633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Machine learning</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r>
              <a:rPr lang="en-US" sz="1400" dirty="0"/>
              <a:t>Machine learning is a field of computer science that gives computers the ability to </a:t>
            </a:r>
            <a:r>
              <a:rPr lang="en-US" sz="1400" b="1" dirty="0">
                <a:solidFill>
                  <a:schemeClr val="accent2"/>
                </a:solidFill>
              </a:rPr>
              <a:t>learn without being explicitly programmed</a:t>
            </a:r>
          </a:p>
          <a:p>
            <a:endParaRPr lang="en-US" sz="2000" i="1" dirty="0">
              <a:solidFill>
                <a:srgbClr val="BA6016"/>
              </a:solidFill>
            </a:endParaRPr>
          </a:p>
        </p:txBody>
      </p:sp>
      <p:grpSp>
        <p:nvGrpSpPr>
          <p:cNvPr id="18" name="Group 17">
            <a:extLst>
              <a:ext uri="{FF2B5EF4-FFF2-40B4-BE49-F238E27FC236}">
                <a16:creationId xmlns:a16="http://schemas.microsoft.com/office/drawing/2014/main" id="{C37C3F69-E251-6A45-85A1-0F82FD54559A}"/>
              </a:ext>
            </a:extLst>
          </p:cNvPr>
          <p:cNvGrpSpPr/>
          <p:nvPr/>
        </p:nvGrpSpPr>
        <p:grpSpPr>
          <a:xfrm>
            <a:off x="2349795" y="2126513"/>
            <a:ext cx="5997649" cy="1818167"/>
            <a:chOff x="457200" y="2682748"/>
            <a:chExt cx="8496300" cy="2737104"/>
          </a:xfrm>
        </p:grpSpPr>
        <p:sp>
          <p:nvSpPr>
            <p:cNvPr id="19" name="Can 18">
              <a:extLst>
                <a:ext uri="{FF2B5EF4-FFF2-40B4-BE49-F238E27FC236}">
                  <a16:creationId xmlns:a16="http://schemas.microsoft.com/office/drawing/2014/main" id="{426EB19E-183F-0A44-8A18-4D25BECB88B8}"/>
                </a:ext>
              </a:extLst>
            </p:cNvPr>
            <p:cNvSpPr/>
            <p:nvPr/>
          </p:nvSpPr>
          <p:spPr>
            <a:xfrm>
              <a:off x="457200" y="2682748"/>
              <a:ext cx="2108200" cy="949452"/>
            </a:xfrm>
            <a:prstGeom prst="ca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t>Labeled Data</a:t>
              </a:r>
            </a:p>
          </p:txBody>
        </p:sp>
        <p:sp>
          <p:nvSpPr>
            <p:cNvPr id="20" name="Can 19">
              <a:extLst>
                <a:ext uri="{FF2B5EF4-FFF2-40B4-BE49-F238E27FC236}">
                  <a16:creationId xmlns:a16="http://schemas.microsoft.com/office/drawing/2014/main" id="{2A72F1F3-9A16-824B-A04F-467B30BB2E54}"/>
                </a:ext>
              </a:extLst>
            </p:cNvPr>
            <p:cNvSpPr/>
            <p:nvPr/>
          </p:nvSpPr>
          <p:spPr>
            <a:xfrm>
              <a:off x="457200" y="4470400"/>
              <a:ext cx="2108200" cy="949452"/>
            </a:xfrm>
            <a:prstGeom prst="ca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t>Labeled Data</a:t>
              </a:r>
            </a:p>
          </p:txBody>
        </p:sp>
        <p:sp>
          <p:nvSpPr>
            <p:cNvPr id="21" name="Rounded Rectangle 20">
              <a:extLst>
                <a:ext uri="{FF2B5EF4-FFF2-40B4-BE49-F238E27FC236}">
                  <a16:creationId xmlns:a16="http://schemas.microsoft.com/office/drawing/2014/main" id="{C3EA52BE-AE31-F841-B651-92D880CB5B44}"/>
                </a:ext>
              </a:extLst>
            </p:cNvPr>
            <p:cNvSpPr/>
            <p:nvPr/>
          </p:nvSpPr>
          <p:spPr>
            <a:xfrm>
              <a:off x="3542697" y="2682748"/>
              <a:ext cx="2654300" cy="949452"/>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Machine Learning algorithm</a:t>
              </a:r>
            </a:p>
          </p:txBody>
        </p:sp>
        <p:sp>
          <p:nvSpPr>
            <p:cNvPr id="22" name="Cube 21">
              <a:extLst>
                <a:ext uri="{FF2B5EF4-FFF2-40B4-BE49-F238E27FC236}">
                  <a16:creationId xmlns:a16="http://schemas.microsoft.com/office/drawing/2014/main" id="{016B0182-31A2-A240-A383-E301415CAC1F}"/>
                </a:ext>
              </a:extLst>
            </p:cNvPr>
            <p:cNvSpPr/>
            <p:nvPr/>
          </p:nvSpPr>
          <p:spPr>
            <a:xfrm>
              <a:off x="3809397" y="4364454"/>
              <a:ext cx="1943100" cy="909574"/>
            </a:xfrm>
            <a:prstGeom prst="cub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200" dirty="0"/>
                <a:t>Learned model</a:t>
              </a:r>
            </a:p>
          </p:txBody>
        </p:sp>
        <p:sp>
          <p:nvSpPr>
            <p:cNvPr id="23" name="Bevel 22">
              <a:extLst>
                <a:ext uri="{FF2B5EF4-FFF2-40B4-BE49-F238E27FC236}">
                  <a16:creationId xmlns:a16="http://schemas.microsoft.com/office/drawing/2014/main" id="{77D28DE0-523F-164D-93F7-A91464502568}"/>
                </a:ext>
              </a:extLst>
            </p:cNvPr>
            <p:cNvSpPr/>
            <p:nvPr/>
          </p:nvSpPr>
          <p:spPr>
            <a:xfrm>
              <a:off x="6196997" y="4509782"/>
              <a:ext cx="1536700" cy="870688"/>
            </a:xfrm>
            <a:prstGeom prst="bevel">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a:t>Prediction</a:t>
              </a:r>
            </a:p>
          </p:txBody>
        </p:sp>
        <p:cxnSp>
          <p:nvCxnSpPr>
            <p:cNvPr id="24" name="Straight Arrow Connector 23">
              <a:extLst>
                <a:ext uri="{FF2B5EF4-FFF2-40B4-BE49-F238E27FC236}">
                  <a16:creationId xmlns:a16="http://schemas.microsoft.com/office/drawing/2014/main" id="{7A810496-5255-DB48-B604-7A8A729080AE}"/>
                </a:ext>
              </a:extLst>
            </p:cNvPr>
            <p:cNvCxnSpPr>
              <a:stCxn id="19" idx="4"/>
              <a:endCxn id="21" idx="1"/>
            </p:cNvCxnSpPr>
            <p:nvPr/>
          </p:nvCxnSpPr>
          <p:spPr>
            <a:xfrm>
              <a:off x="2565400" y="3157474"/>
              <a:ext cx="977297"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a:extLst>
                <a:ext uri="{FF2B5EF4-FFF2-40B4-BE49-F238E27FC236}">
                  <a16:creationId xmlns:a16="http://schemas.microsoft.com/office/drawing/2014/main" id="{53A99878-B2CC-874F-829B-E67EDAA17CCD}"/>
                </a:ext>
              </a:extLst>
            </p:cNvPr>
            <p:cNvCxnSpPr>
              <a:stCxn id="20" idx="4"/>
              <a:endCxn id="22" idx="2"/>
            </p:cNvCxnSpPr>
            <p:nvPr/>
          </p:nvCxnSpPr>
          <p:spPr>
            <a:xfrm flipV="1">
              <a:off x="2565400" y="4932938"/>
              <a:ext cx="1243997" cy="1218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6" name="Straight Arrow Connector 25">
              <a:extLst>
                <a:ext uri="{FF2B5EF4-FFF2-40B4-BE49-F238E27FC236}">
                  <a16:creationId xmlns:a16="http://schemas.microsoft.com/office/drawing/2014/main" id="{2EF7639B-F8D6-C44A-B837-236E5C3D90FD}"/>
                </a:ext>
              </a:extLst>
            </p:cNvPr>
            <p:cNvCxnSpPr>
              <a:stCxn id="22" idx="4"/>
              <a:endCxn id="23" idx="4"/>
            </p:cNvCxnSpPr>
            <p:nvPr/>
          </p:nvCxnSpPr>
          <p:spPr>
            <a:xfrm>
              <a:off x="5525104" y="4932938"/>
              <a:ext cx="671893" cy="1218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7" name="Straight Arrow Connector 26">
              <a:extLst>
                <a:ext uri="{FF2B5EF4-FFF2-40B4-BE49-F238E27FC236}">
                  <a16:creationId xmlns:a16="http://schemas.microsoft.com/office/drawing/2014/main" id="{ECDFB90D-BBDF-FE43-96E2-57B86370C92E}"/>
                </a:ext>
              </a:extLst>
            </p:cNvPr>
            <p:cNvCxnSpPr>
              <a:stCxn id="21" idx="2"/>
              <a:endCxn id="22" idx="0"/>
            </p:cNvCxnSpPr>
            <p:nvPr/>
          </p:nvCxnSpPr>
          <p:spPr>
            <a:xfrm>
              <a:off x="4869847" y="3632200"/>
              <a:ext cx="24797" cy="732254"/>
            </a:xfrm>
            <a:prstGeom prst="straightConnector1">
              <a:avLst/>
            </a:prstGeom>
            <a:ln w="38100" cmpd="sng">
              <a:tailEnd type="arrow"/>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42F0DB21-9DA0-4644-8370-271858A4C2CD}"/>
                </a:ext>
              </a:extLst>
            </p:cNvPr>
            <p:cNvCxnSpPr/>
            <p:nvPr/>
          </p:nvCxnSpPr>
          <p:spPr>
            <a:xfrm flipV="1">
              <a:off x="457200" y="4000500"/>
              <a:ext cx="8496300" cy="38100"/>
            </a:xfrm>
            <a:prstGeom prst="line">
              <a:avLst/>
            </a:prstGeom>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4E3AAC6E-F387-5246-9EA2-FC5CD2BBF704}"/>
                </a:ext>
              </a:extLst>
            </p:cNvPr>
            <p:cNvSpPr txBox="1"/>
            <p:nvPr/>
          </p:nvSpPr>
          <p:spPr>
            <a:xfrm>
              <a:off x="457200" y="3702446"/>
              <a:ext cx="785343" cy="276999"/>
            </a:xfrm>
            <a:prstGeom prst="rect">
              <a:avLst/>
            </a:prstGeom>
            <a:noFill/>
          </p:spPr>
          <p:txBody>
            <a:bodyPr wrap="none" rtlCol="0">
              <a:spAutoFit/>
            </a:bodyPr>
            <a:lstStyle/>
            <a:p>
              <a:r>
                <a:rPr lang="en-US" sz="1200" b="1" dirty="0">
                  <a:solidFill>
                    <a:schemeClr val="accent2"/>
                  </a:solidFill>
                </a:rPr>
                <a:t>Training</a:t>
              </a:r>
            </a:p>
          </p:txBody>
        </p:sp>
        <p:sp>
          <p:nvSpPr>
            <p:cNvPr id="30" name="TextBox 29">
              <a:extLst>
                <a:ext uri="{FF2B5EF4-FFF2-40B4-BE49-F238E27FC236}">
                  <a16:creationId xmlns:a16="http://schemas.microsoft.com/office/drawing/2014/main" id="{CBE0A3D3-F2CB-9245-916E-75774DDA93E6}"/>
                </a:ext>
              </a:extLst>
            </p:cNvPr>
            <p:cNvSpPr txBox="1"/>
            <p:nvPr/>
          </p:nvSpPr>
          <p:spPr>
            <a:xfrm>
              <a:off x="457200" y="4025900"/>
              <a:ext cx="938077" cy="276999"/>
            </a:xfrm>
            <a:prstGeom prst="rect">
              <a:avLst/>
            </a:prstGeom>
            <a:noFill/>
          </p:spPr>
          <p:txBody>
            <a:bodyPr wrap="none" rtlCol="0">
              <a:spAutoFit/>
            </a:bodyPr>
            <a:lstStyle/>
            <a:p>
              <a:r>
                <a:rPr lang="en-US" sz="1200" b="1" dirty="0">
                  <a:solidFill>
                    <a:schemeClr val="accent2"/>
                  </a:solidFill>
                </a:rPr>
                <a:t>Prediction</a:t>
              </a:r>
            </a:p>
          </p:txBody>
        </p:sp>
      </p:grpSp>
    </p:spTree>
    <p:extLst>
      <p:ext uri="{BB962C8B-B14F-4D97-AF65-F5344CB8AC3E}">
        <p14:creationId xmlns:p14="http://schemas.microsoft.com/office/powerpoint/2010/main" val="4112651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A8C7-C17B-4380-8EDA-0A7E18FD588D}"/>
              </a:ext>
            </a:extLst>
          </p:cNvPr>
          <p:cNvSpPr>
            <a:spLocks noGrp="1"/>
          </p:cNvSpPr>
          <p:nvPr>
            <p:ph type="title"/>
          </p:nvPr>
        </p:nvSpPr>
        <p:spPr/>
        <p:txBody>
          <a:bodyPr/>
          <a:lstStyle/>
          <a:p>
            <a:pPr lvl="0"/>
            <a:r>
              <a:rPr lang="en-CA" dirty="0"/>
              <a:t>Deep leaning vs. Machine Learning</a:t>
            </a:r>
          </a:p>
        </p:txBody>
      </p:sp>
      <p:sp>
        <p:nvSpPr>
          <p:cNvPr id="3" name="Content Placeholder 2">
            <a:extLst>
              <a:ext uri="{FF2B5EF4-FFF2-40B4-BE49-F238E27FC236}">
                <a16:creationId xmlns:a16="http://schemas.microsoft.com/office/drawing/2014/main" id="{BAE40947-3744-4701-9A3B-68891DA974F8}"/>
              </a:ext>
            </a:extLst>
          </p:cNvPr>
          <p:cNvSpPr>
            <a:spLocks noGrp="1"/>
          </p:cNvSpPr>
          <p:nvPr>
            <p:ph idx="1"/>
          </p:nvPr>
        </p:nvSpPr>
        <p:spPr/>
        <p:txBody>
          <a:bodyPr>
            <a:normAutofit/>
          </a:bodyPr>
          <a:lstStyle/>
          <a:p>
            <a:r>
              <a:rPr lang="en-US" sz="1400" dirty="0"/>
              <a:t>Most machine learning methods work well because of human-designed representations and input features</a:t>
            </a:r>
          </a:p>
          <a:p>
            <a:r>
              <a:rPr lang="en-US" sz="1400" dirty="0"/>
              <a:t>ML becomes just optimizing weights to best make a final prediction</a:t>
            </a:r>
          </a:p>
          <a:p>
            <a:endParaRPr lang="en-US" sz="2000" i="1" dirty="0">
              <a:solidFill>
                <a:srgbClr val="BA6016"/>
              </a:solidFill>
            </a:endParaRPr>
          </a:p>
        </p:txBody>
      </p:sp>
      <p:pic>
        <p:nvPicPr>
          <p:cNvPr id="17" name="Picture 16">
            <a:extLst>
              <a:ext uri="{FF2B5EF4-FFF2-40B4-BE49-F238E27FC236}">
                <a16:creationId xmlns:a16="http://schemas.microsoft.com/office/drawing/2014/main" id="{617627D9-33F3-534D-A88B-FE74B505E6CB}"/>
              </a:ext>
            </a:extLst>
          </p:cNvPr>
          <p:cNvPicPr>
            <a:picLocks noChangeAspect="1"/>
          </p:cNvPicPr>
          <p:nvPr/>
        </p:nvPicPr>
        <p:blipFill>
          <a:blip r:embed="rId2"/>
          <a:stretch>
            <a:fillRect/>
          </a:stretch>
        </p:blipFill>
        <p:spPr>
          <a:xfrm>
            <a:off x="2222204" y="1996539"/>
            <a:ext cx="2827615" cy="2598084"/>
          </a:xfrm>
          <a:prstGeom prst="rect">
            <a:avLst/>
          </a:prstGeom>
        </p:spPr>
      </p:pic>
      <p:pic>
        <p:nvPicPr>
          <p:cNvPr id="31" name="Picture 30">
            <a:extLst>
              <a:ext uri="{FF2B5EF4-FFF2-40B4-BE49-F238E27FC236}">
                <a16:creationId xmlns:a16="http://schemas.microsoft.com/office/drawing/2014/main" id="{39E5029A-54BF-EA41-9EC8-8837D2647F7F}"/>
              </a:ext>
            </a:extLst>
          </p:cNvPr>
          <p:cNvPicPr>
            <a:picLocks noChangeAspect="1"/>
          </p:cNvPicPr>
          <p:nvPr/>
        </p:nvPicPr>
        <p:blipFill>
          <a:blip r:embed="rId3"/>
          <a:stretch>
            <a:fillRect/>
          </a:stretch>
        </p:blipFill>
        <p:spPr>
          <a:xfrm>
            <a:off x="5201920" y="2184149"/>
            <a:ext cx="2847723" cy="2222863"/>
          </a:xfrm>
          <a:prstGeom prst="rect">
            <a:avLst/>
          </a:prstGeom>
        </p:spPr>
      </p:pic>
    </p:spTree>
    <p:extLst>
      <p:ext uri="{BB962C8B-B14F-4D97-AF65-F5344CB8AC3E}">
        <p14:creationId xmlns:p14="http://schemas.microsoft.com/office/powerpoint/2010/main" val="1320123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Status xmlns="http://schemas.microsoft.com/sharepoint/v3/fields">Not Started</_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DE64AEEDD9B7A4D93545ACBE97D4615" ma:contentTypeVersion="2" ma:contentTypeDescription="Create a new document." ma:contentTypeScope="" ma:versionID="f49002b78e3a4a71b814eef46a983816">
  <xsd:schema xmlns:xsd="http://www.w3.org/2001/XMLSchema" xmlns:xs="http://www.w3.org/2001/XMLSchema" xmlns:p="http://schemas.microsoft.com/office/2006/metadata/properties" xmlns:ns2="http://schemas.microsoft.com/sharepoint/v3/fields" targetNamespace="http://schemas.microsoft.com/office/2006/metadata/properties" ma:root="true" ma:fieldsID="38f6db2dd0d9a0cf6a8dc37be32b365b" ns2:_="">
    <xsd:import namespace="http://schemas.microsoft.com/sharepoint/v3/fields"/>
    <xsd:element name="properties">
      <xsd:complexType>
        <xsd:sequence>
          <xsd:element name="documentManagement">
            <xsd:complexType>
              <xsd:all>
                <xsd:element ref="ns2:_Status" minOccurs="0"/>
                <xsd:element ref="ns2: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8"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element name="_Version" ma:index="9"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6F2769-7194-4217-93D3-3AF3A474228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E4214858-785C-42F7-BE66-6D0E79395F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D2A1B0-FF3E-4009-940D-AED0EB70AA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NEMasterTemplateForThemePreview.pptx</Template>
  <TotalTime>12265</TotalTime>
  <Words>1026</Words>
  <Application>Microsoft Macintosh PowerPoint</Application>
  <PresentationFormat>On-screen Show (16:9)</PresentationFormat>
  <Paragraphs>291</Paragraphs>
  <Slides>36</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5" baseType="lpstr">
      <vt:lpstr>宋体</vt:lpstr>
      <vt:lpstr>Arial</vt:lpstr>
      <vt:lpstr>Calibri</vt:lpstr>
      <vt:lpstr>Cambria Math</vt:lpstr>
      <vt:lpstr>Courier New</vt:lpstr>
      <vt:lpstr>Times New Roman</vt:lpstr>
      <vt:lpstr>Wingdings</vt:lpstr>
      <vt:lpstr>Office Theme</vt:lpstr>
      <vt:lpstr>think-cell Slide</vt:lpstr>
      <vt:lpstr>What is Data Analytics?</vt:lpstr>
      <vt:lpstr>Types of Data</vt:lpstr>
      <vt:lpstr>Unstructured Data</vt:lpstr>
      <vt:lpstr>Algorithm selection</vt:lpstr>
      <vt:lpstr>Algorithm selection</vt:lpstr>
      <vt:lpstr>Algorithm selection (cont)</vt:lpstr>
      <vt:lpstr>Algorithm selection (cont.)</vt:lpstr>
      <vt:lpstr>Machine learning</vt:lpstr>
      <vt:lpstr>Deep leaning vs. Machine Learning</vt:lpstr>
      <vt:lpstr>Deep leaning vs. Machine Learning </vt:lpstr>
      <vt:lpstr>In the rest of this course – Part 1 Natural Language Processing  </vt:lpstr>
      <vt:lpstr>Unstructured Data</vt:lpstr>
      <vt:lpstr>Text analytic</vt:lpstr>
      <vt:lpstr>Text analytic</vt:lpstr>
      <vt:lpstr>Text mining application</vt:lpstr>
      <vt:lpstr>Text mining &amp; Deep learning</vt:lpstr>
      <vt:lpstr>Text analytic</vt:lpstr>
      <vt:lpstr>Text Mining</vt:lpstr>
      <vt:lpstr>In the rest of this course – Part 2 Neural Network and Its Applications   </vt:lpstr>
      <vt:lpstr>Neural Network</vt:lpstr>
      <vt:lpstr>Shallow Neural Network</vt:lpstr>
      <vt:lpstr>Deep Learning</vt:lpstr>
      <vt:lpstr>Deep learning vs. Human brain</vt:lpstr>
      <vt:lpstr>Deep leaning</vt:lpstr>
      <vt:lpstr>Neural Network property</vt:lpstr>
      <vt:lpstr>Train multi-layer NNs…</vt:lpstr>
      <vt:lpstr>Deep leaning</vt:lpstr>
      <vt:lpstr>AI/ Deep Learning Contents</vt:lpstr>
      <vt:lpstr>PowerPoint Presentation</vt:lpstr>
      <vt:lpstr>Fully connected Multi-layer Neural Network</vt:lpstr>
      <vt:lpstr>Convolutional Neural Notework</vt:lpstr>
      <vt:lpstr>Convolutional Neural Network</vt:lpstr>
      <vt:lpstr>DNN frameworks</vt:lpstr>
      <vt:lpstr>Python for Data Science</vt:lpstr>
      <vt:lpstr>For Next Week</vt:lpstr>
      <vt:lpstr>PowerPoint Presentation</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leNewTemplate</dc:title>
  <dc:creator>Diana</dc:creator>
  <cp:lastModifiedBy/>
  <cp:revision>302</cp:revision>
  <dcterms:created xsi:type="dcterms:W3CDTF">2010-04-12T23:12:02Z</dcterms:created>
  <dcterms:modified xsi:type="dcterms:W3CDTF">2019-09-21T05:17:13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64AEEDD9B7A4D93545ACBE97D4615</vt:lpwstr>
  </property>
</Properties>
</file>